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2" r:id="rId2"/>
    <p:sldMasterId id="2147483714" r:id="rId3"/>
    <p:sldMasterId id="2147483726" r:id="rId4"/>
  </p:sldMasterIdLst>
  <p:notesMasterIdLst>
    <p:notesMasterId r:id="rId20"/>
  </p:notesMasterIdLst>
  <p:sldIdLst>
    <p:sldId id="257" r:id="rId5"/>
    <p:sldId id="258" r:id="rId6"/>
    <p:sldId id="259" r:id="rId7"/>
    <p:sldId id="401" r:id="rId8"/>
    <p:sldId id="403" r:id="rId9"/>
    <p:sldId id="410" r:id="rId10"/>
    <p:sldId id="411" r:id="rId11"/>
    <p:sldId id="322" r:id="rId12"/>
    <p:sldId id="407" r:id="rId13"/>
    <p:sldId id="409" r:id="rId14"/>
    <p:sldId id="404" r:id="rId15"/>
    <p:sldId id="405" r:id="rId16"/>
    <p:sldId id="406" r:id="rId17"/>
    <p:sldId id="263" r:id="rId18"/>
    <p:sldId id="402" r:id="rId19"/>
  </p:sldIdLst>
  <p:sldSz cx="12192000" cy="6858000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Lučan Jiří" initials="LJ" lastIdx="1" clrIdx="0">
    <p:extLst>
      <p:ext uri="{19B8F6BF-5375-455C-9EA6-DF929625EA0E}">
        <p15:presenceInfo xmlns:p15="http://schemas.microsoft.com/office/powerpoint/2012/main" userId="S-1-5-21-240127028-979645192-923749875-2894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0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264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4</c:v>
                </c:pt>
                <c:pt idx="9">
                  <c:v>3</c:v>
                </c:pt>
                <c:pt idx="10">
                  <c:v>5</c:v>
                </c:pt>
                <c:pt idx="11">
                  <c:v>4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7</c:v>
                </c:pt>
                <c:pt idx="20">
                  <c:v>8</c:v>
                </c:pt>
                <c:pt idx="21">
                  <c:v>8</c:v>
                </c:pt>
                <c:pt idx="22">
                  <c:v>9</c:v>
                </c:pt>
                <c:pt idx="23">
                  <c:v>12</c:v>
                </c:pt>
                <c:pt idx="24">
                  <c:v>12</c:v>
                </c:pt>
                <c:pt idx="25">
                  <c:v>15</c:v>
                </c:pt>
                <c:pt idx="26">
                  <c:v>19</c:v>
                </c:pt>
                <c:pt idx="27">
                  <c:v>19</c:v>
                </c:pt>
                <c:pt idx="28">
                  <c:v>19</c:v>
                </c:pt>
                <c:pt idx="29">
                  <c:v>22</c:v>
                </c:pt>
                <c:pt idx="30">
                  <c:v>24</c:v>
                </c:pt>
                <c:pt idx="31">
                  <c:v>25</c:v>
                </c:pt>
                <c:pt idx="32">
                  <c:v>23</c:v>
                </c:pt>
                <c:pt idx="33">
                  <c:v>21</c:v>
                </c:pt>
                <c:pt idx="34">
                  <c:v>24</c:v>
                </c:pt>
                <c:pt idx="35">
                  <c:v>30</c:v>
                </c:pt>
                <c:pt idx="36">
                  <c:v>29</c:v>
                </c:pt>
                <c:pt idx="37">
                  <c:v>36</c:v>
                </c:pt>
                <c:pt idx="38">
                  <c:v>36</c:v>
                </c:pt>
                <c:pt idx="39">
                  <c:v>39</c:v>
                </c:pt>
                <c:pt idx="40">
                  <c:v>40</c:v>
                </c:pt>
                <c:pt idx="41">
                  <c:v>39</c:v>
                </c:pt>
                <c:pt idx="42">
                  <c:v>42</c:v>
                </c:pt>
                <c:pt idx="43">
                  <c:v>41</c:v>
                </c:pt>
                <c:pt idx="44">
                  <c:v>41</c:v>
                </c:pt>
                <c:pt idx="45">
                  <c:v>49</c:v>
                </c:pt>
                <c:pt idx="46">
                  <c:v>51</c:v>
                </c:pt>
                <c:pt idx="47">
                  <c:v>54</c:v>
                </c:pt>
                <c:pt idx="48">
                  <c:v>56</c:v>
                </c:pt>
                <c:pt idx="49">
                  <c:v>55</c:v>
                </c:pt>
                <c:pt idx="50">
                  <c:v>51</c:v>
                </c:pt>
                <c:pt idx="51">
                  <c:v>54</c:v>
                </c:pt>
                <c:pt idx="52">
                  <c:v>62</c:v>
                </c:pt>
                <c:pt idx="53">
                  <c:v>61</c:v>
                </c:pt>
                <c:pt idx="54">
                  <c:v>61</c:v>
                </c:pt>
                <c:pt idx="55">
                  <c:v>58</c:v>
                </c:pt>
                <c:pt idx="56">
                  <c:v>61</c:v>
                </c:pt>
                <c:pt idx="57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DE1-4E2B-9D47-45A919C46D6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.94857608865356</c:v>
                </c:pt>
                <c:pt idx="43">
                  <c:v>41.012153236552102</c:v>
                </c:pt>
                <c:pt idx="44">
                  <c:v>43.007754645224765</c:v>
                </c:pt>
                <c:pt idx="45">
                  <c:v>44.914609807344874</c:v>
                </c:pt>
                <c:pt idx="46">
                  <c:v>46.809479943051983</c:v>
                </c:pt>
                <c:pt idx="47">
                  <c:v>48.719629602057836</c:v>
                </c:pt>
                <c:pt idx="48">
                  <c:v>50.576988106634332</c:v>
                </c:pt>
                <c:pt idx="49">
                  <c:v>52.381848600530297</c:v>
                </c:pt>
                <c:pt idx="50">
                  <c:v>54.04516379246018</c:v>
                </c:pt>
                <c:pt idx="51">
                  <c:v>55.659174258740066</c:v>
                </c:pt>
                <c:pt idx="52">
                  <c:v>57.208371653299523</c:v>
                </c:pt>
                <c:pt idx="53">
                  <c:v>58.736453293801922</c:v>
                </c:pt>
                <c:pt idx="54">
                  <c:v>60.150028981190459</c:v>
                </c:pt>
                <c:pt idx="55">
                  <c:v>61.480292058900332</c:v>
                </c:pt>
                <c:pt idx="56">
                  <c:v>62.781201263469626</c:v>
                </c:pt>
                <c:pt idx="57">
                  <c:v>63.99692931912292</c:v>
                </c:pt>
                <c:pt idx="58">
                  <c:v>65.147540480447603</c:v>
                </c:pt>
                <c:pt idx="59">
                  <c:v>66.21603894031341</c:v>
                </c:pt>
                <c:pt idx="60">
                  <c:v>67.233055676778491</c:v>
                </c:pt>
                <c:pt idx="61">
                  <c:v>68.177464258629158</c:v>
                </c:pt>
                <c:pt idx="62">
                  <c:v>69.037951394041485</c:v>
                </c:pt>
                <c:pt idx="63">
                  <c:v>69.840212012241494</c:v>
                </c:pt>
                <c:pt idx="64">
                  <c:v>70.589182698283707</c:v>
                </c:pt>
                <c:pt idx="65">
                  <c:v>71.258030525604994</c:v>
                </c:pt>
                <c:pt idx="66">
                  <c:v>71.849270513356345</c:v>
                </c:pt>
                <c:pt idx="67">
                  <c:v>72.374337943313549</c:v>
                </c:pt>
                <c:pt idx="68">
                  <c:v>72.839953097589984</c:v>
                </c:pt>
                <c:pt idx="69">
                  <c:v>73.243722272231764</c:v>
                </c:pt>
                <c:pt idx="70">
                  <c:v>73.581860956332449</c:v>
                </c:pt>
                <c:pt idx="71">
                  <c:v>73.862186711468539</c:v>
                </c:pt>
                <c:pt idx="72">
                  <c:v>74.074183621437982</c:v>
                </c:pt>
                <c:pt idx="73">
                  <c:v>74.220423923202247</c:v>
                </c:pt>
                <c:pt idx="74">
                  <c:v>74.293743112659641</c:v>
                </c:pt>
                <c:pt idx="75">
                  <c:v>74.305493990167406</c:v>
                </c:pt>
                <c:pt idx="76">
                  <c:v>74.256854200685581</c:v>
                </c:pt>
                <c:pt idx="77">
                  <c:v>74.147309320776685</c:v>
                </c:pt>
                <c:pt idx="78">
                  <c:v>73.9740762208462</c:v>
                </c:pt>
                <c:pt idx="79">
                  <c:v>73.73512981742482</c:v>
                </c:pt>
                <c:pt idx="80">
                  <c:v>73.434967229327214</c:v>
                </c:pt>
                <c:pt idx="81">
                  <c:v>73.075565303273748</c:v>
                </c:pt>
                <c:pt idx="82">
                  <c:v>72.657662373991812</c:v>
                </c:pt>
                <c:pt idx="83">
                  <c:v>72.181361456874384</c:v>
                </c:pt>
                <c:pt idx="84">
                  <c:v>71.64881391737606</c:v>
                </c:pt>
                <c:pt idx="85">
                  <c:v>71.061953789986305</c:v>
                </c:pt>
                <c:pt idx="86">
                  <c:v>70.422787850089819</c:v>
                </c:pt>
                <c:pt idx="87">
                  <c:v>69.733035563726162</c:v>
                </c:pt>
                <c:pt idx="88">
                  <c:v>68.99496252203474</c:v>
                </c:pt>
                <c:pt idx="89">
                  <c:v>68.210494064727783</c:v>
                </c:pt>
                <c:pt idx="90">
                  <c:v>67.381353189979677</c:v>
                </c:pt>
                <c:pt idx="91">
                  <c:v>66.509827252371565</c:v>
                </c:pt>
                <c:pt idx="92">
                  <c:v>65.598482550224148</c:v>
                </c:pt>
                <c:pt idx="93">
                  <c:v>64.649738149928979</c:v>
                </c:pt>
                <c:pt idx="94">
                  <c:v>63.665945371573031</c:v>
                </c:pt>
                <c:pt idx="95">
                  <c:v>62.649558924945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DE1-4E2B-9D47-45A919C46D6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9.029867036936515</c:v>
                </c:pt>
                <c:pt idx="43">
                  <c:v>41.20724737260295</c:v>
                </c:pt>
                <c:pt idx="44">
                  <c:v>43.352693861457979</c:v>
                </c:pt>
                <c:pt idx="45">
                  <c:v>45.448737333223278</c:v>
                </c:pt>
                <c:pt idx="46">
                  <c:v>47.574340057408335</c:v>
                </c:pt>
                <c:pt idx="47">
                  <c:v>49.760324232235554</c:v>
                </c:pt>
                <c:pt idx="48">
                  <c:v>51.939025046344454</c:v>
                </c:pt>
                <c:pt idx="49">
                  <c:v>54.112107261863812</c:v>
                </c:pt>
                <c:pt idx="50">
                  <c:v>56.190313551239122</c:v>
                </c:pt>
                <c:pt idx="51">
                  <c:v>58.265679662010065</c:v>
                </c:pt>
                <c:pt idx="52">
                  <c:v>60.322187583292347</c:v>
                </c:pt>
                <c:pt idx="53">
                  <c:v>62.401980584187413</c:v>
                </c:pt>
                <c:pt idx="54">
                  <c:v>64.410572958920184</c:v>
                </c:pt>
                <c:pt idx="55">
                  <c:v>66.376637800137487</c:v>
                </c:pt>
                <c:pt idx="56">
                  <c:v>68.352220995564565</c:v>
                </c:pt>
                <c:pt idx="57">
                  <c:v>70.278985714705072</c:v>
                </c:pt>
                <c:pt idx="58">
                  <c:v>72.173843906774806</c:v>
                </c:pt>
                <c:pt idx="59">
                  <c:v>74.015047747074888</c:v>
                </c:pt>
                <c:pt idx="60">
                  <c:v>75.83035354378876</c:v>
                </c:pt>
                <c:pt idx="61">
                  <c:v>77.594228015714876</c:v>
                </c:pt>
                <c:pt idx="62">
                  <c:v>79.29190242978413</c:v>
                </c:pt>
                <c:pt idx="63">
                  <c:v>80.945948050147535</c:v>
                </c:pt>
                <c:pt idx="64">
                  <c:v>82.556877133176144</c:v>
                </c:pt>
                <c:pt idx="65">
                  <c:v>84.093833988326338</c:v>
                </c:pt>
                <c:pt idx="66">
                  <c:v>85.555472117229115</c:v>
                </c:pt>
                <c:pt idx="67">
                  <c:v>86.949932691523188</c:v>
                </c:pt>
                <c:pt idx="68">
                  <c:v>88.280179569043199</c:v>
                </c:pt>
                <c:pt idx="69">
                  <c:v>89.540117500893942</c:v>
                </c:pt>
                <c:pt idx="70">
                  <c:v>90.722191148577579</c:v>
                </c:pt>
                <c:pt idx="71">
                  <c:v>91.830427965031134</c:v>
                </c:pt>
                <c:pt idx="72">
                  <c:v>92.850538068448174</c:v>
                </c:pt>
                <c:pt idx="73">
                  <c:v>93.781885247479963</c:v>
                </c:pt>
                <c:pt idx="74">
                  <c:v>94.61403918605258</c:v>
                </c:pt>
                <c:pt idx="75">
                  <c:v>95.35544220963213</c:v>
                </c:pt>
                <c:pt idx="76">
                  <c:v>96.00441151646703</c:v>
                </c:pt>
                <c:pt idx="77">
                  <c:v>96.557765925594936</c:v>
                </c:pt>
                <c:pt idx="78">
                  <c:v>97.009935666682978</c:v>
                </c:pt>
                <c:pt idx="79">
                  <c:v>97.356507983885251</c:v>
                </c:pt>
                <c:pt idx="80">
                  <c:v>97.600135655375652</c:v>
                </c:pt>
                <c:pt idx="81">
                  <c:v>97.74099642227165</c:v>
                </c:pt>
                <c:pt idx="82">
                  <c:v>97.77827963274305</c:v>
                </c:pt>
                <c:pt idx="83">
                  <c:v>97.710793073114615</c:v>
                </c:pt>
                <c:pt idx="84">
                  <c:v>97.539645984125343</c:v>
                </c:pt>
                <c:pt idx="85">
                  <c:v>97.265993130053573</c:v>
                </c:pt>
                <c:pt idx="86">
                  <c:v>96.89132099469353</c:v>
                </c:pt>
                <c:pt idx="87">
                  <c:v>96.417087929869666</c:v>
                </c:pt>
                <c:pt idx="88">
                  <c:v>95.845551360827073</c:v>
                </c:pt>
                <c:pt idx="89">
                  <c:v>95.17887335848306</c:v>
                </c:pt>
                <c:pt idx="90">
                  <c:v>94.41924591693251</c:v>
                </c:pt>
                <c:pt idx="91">
                  <c:v>93.569647555435935</c:v>
                </c:pt>
                <c:pt idx="92">
                  <c:v>92.633549587200974</c:v>
                </c:pt>
                <c:pt idx="93">
                  <c:v>91.614477806433314</c:v>
                </c:pt>
                <c:pt idx="94">
                  <c:v>90.516076122564527</c:v>
                </c:pt>
                <c:pt idx="95">
                  <c:v>89.3422546971890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DE1-4E2B-9D47-45A919C46D6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9.111618753161963</c:v>
                </c:pt>
                <c:pt idx="43">
                  <c:v>41.404017752359223</c:v>
                </c:pt>
                <c:pt idx="44">
                  <c:v>43.701807617271811</c:v>
                </c:pt>
                <c:pt idx="45">
                  <c:v>45.991468861019371</c:v>
                </c:pt>
                <c:pt idx="46">
                  <c:v>48.354910688815949</c:v>
                </c:pt>
                <c:pt idx="47">
                  <c:v>50.827347663712935</c:v>
                </c:pt>
                <c:pt idx="48">
                  <c:v>53.342413149164088</c:v>
                </c:pt>
                <c:pt idx="49">
                  <c:v>55.904088112787825</c:v>
                </c:pt>
                <c:pt idx="50">
                  <c:v>58.423870963621383</c:v>
                </c:pt>
                <c:pt idx="51">
                  <c:v>60.994563634180217</c:v>
                </c:pt>
                <c:pt idx="52">
                  <c:v>63.600591352961224</c:v>
                </c:pt>
                <c:pt idx="53">
                  <c:v>66.283447638099247</c:v>
                </c:pt>
                <c:pt idx="54">
                  <c:v>68.948387241229852</c:v>
                </c:pt>
                <c:pt idx="55">
                  <c:v>71.622301564962385</c:v>
                </c:pt>
                <c:pt idx="56">
                  <c:v>74.355960489639784</c:v>
                </c:pt>
                <c:pt idx="57">
                  <c:v>77.089024842780447</c:v>
                </c:pt>
                <c:pt idx="58">
                  <c:v>79.835619417762757</c:v>
                </c:pt>
                <c:pt idx="59">
                  <c:v>82.569444234432979</c:v>
                </c:pt>
                <c:pt idx="60">
                  <c:v>85.315403006935099</c:v>
                </c:pt>
                <c:pt idx="61">
                  <c:v>88.043379723544575</c:v>
                </c:pt>
                <c:pt idx="62">
                  <c:v>90.734772132943931</c:v>
                </c:pt>
                <c:pt idx="63">
                  <c:v>93.408447717330503</c:v>
                </c:pt>
                <c:pt idx="64">
                  <c:v>96.059706802717642</c:v>
                </c:pt>
                <c:pt idx="65">
                  <c:v>98.652697340349874</c:v>
                </c:pt>
                <c:pt idx="66">
                  <c:v>101.18105854528216</c:v>
                </c:pt>
                <c:pt idx="67">
                  <c:v>103.64830158930906</c:v>
                </c:pt>
                <c:pt idx="68">
                  <c:v>106.05212943553353</c:v>
                </c:pt>
                <c:pt idx="69">
                  <c:v>108.3810895299037</c:v>
                </c:pt>
                <c:pt idx="70">
                  <c:v>110.62206823859486</c:v>
                </c:pt>
                <c:pt idx="71">
                  <c:v>112.77340390936959</c:v>
                </c:pt>
                <c:pt idx="72">
                  <c:v>114.81505237893458</c:v>
                </c:pt>
                <c:pt idx="73">
                  <c:v>116.74113463693573</c:v>
                </c:pt>
                <c:pt idx="74">
                  <c:v>118.53588896661358</c:v>
                </c:pt>
                <c:pt idx="75">
                  <c:v>120.20277771203934</c:v>
                </c:pt>
                <c:pt idx="76">
                  <c:v>121.73521252247949</c:v>
                </c:pt>
                <c:pt idx="77">
                  <c:v>123.12535248819074</c:v>
                </c:pt>
                <c:pt idx="78">
                  <c:v>124.3629262620837</c:v>
                </c:pt>
                <c:pt idx="79">
                  <c:v>125.43932354436052</c:v>
                </c:pt>
                <c:pt idx="80">
                  <c:v>126.3536741660939</c:v>
                </c:pt>
                <c:pt idx="81">
                  <c:v>127.10283043602692</c:v>
                </c:pt>
                <c:pt idx="82">
                  <c:v>127.68307771397427</c:v>
                </c:pt>
                <c:pt idx="83">
                  <c:v>128.09076236307104</c:v>
                </c:pt>
                <c:pt idx="84">
                  <c:v>128.3249885983256</c:v>
                </c:pt>
                <c:pt idx="85">
                  <c:v>128.38538329630219</c:v>
                </c:pt>
                <c:pt idx="86">
                  <c:v>128.2723862424769</c:v>
                </c:pt>
                <c:pt idx="87">
                  <c:v>127.98689535438855</c:v>
                </c:pt>
                <c:pt idx="88">
                  <c:v>127.53108893336682</c:v>
                </c:pt>
                <c:pt idx="89">
                  <c:v>126.90752075465434</c:v>
                </c:pt>
                <c:pt idx="90">
                  <c:v>126.11922717322844</c:v>
                </c:pt>
                <c:pt idx="91">
                  <c:v>125.17046564802459</c:v>
                </c:pt>
                <c:pt idx="92">
                  <c:v>124.06640160792281</c:v>
                </c:pt>
                <c:pt idx="93">
                  <c:v>122.81264458937767</c:v>
                </c:pt>
                <c:pt idx="94">
                  <c:v>121.41528031242706</c:v>
                </c:pt>
                <c:pt idx="95">
                  <c:v>119.88098619347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DE1-4E2B-9D47-45A919C46D6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DE1-4E2B-9D47-45A919C46D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4"/>
          <c:order val="4"/>
          <c:tx>
            <c:v>reálná hodnota</c:v>
          </c:tx>
          <c:spPr>
            <a:solidFill>
              <a:srgbClr val="FFFFFF">
                <a:lumMod val="65000"/>
              </a:srgbClr>
            </a:solidFill>
            <a:ln>
              <a:noFill/>
              <a:prstDash val="sysDot"/>
            </a:ln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8</c:v>
                </c:pt>
                <c:pt idx="10">
                  <c:v>10</c:v>
                </c:pt>
                <c:pt idx="11">
                  <c:v>10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5</c:v>
                </c:pt>
                <c:pt idx="21">
                  <c:v>16</c:v>
                </c:pt>
                <c:pt idx="22">
                  <c:v>18</c:v>
                </c:pt>
                <c:pt idx="23">
                  <c:v>21</c:v>
                </c:pt>
                <c:pt idx="24">
                  <c:v>22</c:v>
                </c:pt>
                <c:pt idx="25">
                  <c:v>26</c:v>
                </c:pt>
                <c:pt idx="26">
                  <c:v>29</c:v>
                </c:pt>
                <c:pt idx="27">
                  <c:v>31</c:v>
                </c:pt>
                <c:pt idx="28">
                  <c:v>32</c:v>
                </c:pt>
                <c:pt idx="29">
                  <c:v>36</c:v>
                </c:pt>
                <c:pt idx="30">
                  <c:v>38</c:v>
                </c:pt>
                <c:pt idx="31">
                  <c:v>42</c:v>
                </c:pt>
                <c:pt idx="32">
                  <c:v>44</c:v>
                </c:pt>
                <c:pt idx="33">
                  <c:v>45</c:v>
                </c:pt>
                <c:pt idx="34">
                  <c:v>51</c:v>
                </c:pt>
                <c:pt idx="35">
                  <c:v>56</c:v>
                </c:pt>
                <c:pt idx="36">
                  <c:v>60</c:v>
                </c:pt>
                <c:pt idx="37">
                  <c:v>65</c:v>
                </c:pt>
                <c:pt idx="38">
                  <c:v>71</c:v>
                </c:pt>
                <c:pt idx="39">
                  <c:v>78</c:v>
                </c:pt>
                <c:pt idx="40">
                  <c:v>82</c:v>
                </c:pt>
                <c:pt idx="41">
                  <c:v>87</c:v>
                </c:pt>
                <c:pt idx="42">
                  <c:v>92</c:v>
                </c:pt>
                <c:pt idx="43">
                  <c:v>93</c:v>
                </c:pt>
                <c:pt idx="44">
                  <c:v>96</c:v>
                </c:pt>
                <c:pt idx="45">
                  <c:v>104</c:v>
                </c:pt>
                <c:pt idx="46">
                  <c:v>113</c:v>
                </c:pt>
                <c:pt idx="47">
                  <c:v>119</c:v>
                </c:pt>
                <c:pt idx="48">
                  <c:v>127</c:v>
                </c:pt>
                <c:pt idx="49">
                  <c:v>135</c:v>
                </c:pt>
                <c:pt idx="50">
                  <c:v>143</c:v>
                </c:pt>
                <c:pt idx="51">
                  <c:v>148</c:v>
                </c:pt>
                <c:pt idx="52">
                  <c:v>159</c:v>
                </c:pt>
                <c:pt idx="53">
                  <c:v>166</c:v>
                </c:pt>
                <c:pt idx="54">
                  <c:v>169</c:v>
                </c:pt>
                <c:pt idx="55">
                  <c:v>176</c:v>
                </c:pt>
                <c:pt idx="56">
                  <c:v>184</c:v>
                </c:pt>
                <c:pt idx="57">
                  <c:v>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8F-4403-90C7-29C2CAA64F6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92.778263399360526</c:v>
                </c:pt>
                <c:pt idx="43">
                  <c:v>98.700691023082328</c:v>
                </c:pt>
                <c:pt idx="44">
                  <c:v>104.74767335855995</c:v>
                </c:pt>
                <c:pt idx="45">
                  <c:v>110.88428467912615</c:v>
                </c:pt>
                <c:pt idx="46">
                  <c:v>117.23603161839631</c:v>
                </c:pt>
                <c:pt idx="47">
                  <c:v>123.73338147239157</c:v>
                </c:pt>
                <c:pt idx="48">
                  <c:v>130.39348579725186</c:v>
                </c:pt>
                <c:pt idx="49">
                  <c:v>137.1658513935771</c:v>
                </c:pt>
                <c:pt idx="50">
                  <c:v>144.03363671936188</c:v>
                </c:pt>
                <c:pt idx="51">
                  <c:v>151.00334089000921</c:v>
                </c:pt>
                <c:pt idx="52">
                  <c:v>158.06204109040002</c:v>
                </c:pt>
                <c:pt idx="53">
                  <c:v>165.24536214361501</c:v>
                </c:pt>
                <c:pt idx="54">
                  <c:v>172.52138191231819</c:v>
                </c:pt>
                <c:pt idx="55">
                  <c:v>179.88051538476208</c:v>
                </c:pt>
                <c:pt idx="56">
                  <c:v>187.31228033613934</c:v>
                </c:pt>
                <c:pt idx="57">
                  <c:v>194.81498181078712</c:v>
                </c:pt>
                <c:pt idx="58">
                  <c:v>202.37731275311262</c:v>
                </c:pt>
                <c:pt idx="59">
                  <c:v>209.98688063065697</c:v>
                </c:pt>
                <c:pt idx="60">
                  <c:v>217.63973682166815</c:v>
                </c:pt>
                <c:pt idx="61">
                  <c:v>225.35395949058167</c:v>
                </c:pt>
                <c:pt idx="62">
                  <c:v>233.11032919206377</c:v>
                </c:pt>
                <c:pt idx="63">
                  <c:v>240.89999337570254</c:v>
                </c:pt>
                <c:pt idx="64">
                  <c:v>248.71659215693376</c:v>
                </c:pt>
                <c:pt idx="65">
                  <c:v>256.55378200764619</c:v>
                </c:pt>
                <c:pt idx="66">
                  <c:v>264.40527411004609</c:v>
                </c:pt>
                <c:pt idx="67">
                  <c:v>272.26466202597555</c:v>
                </c:pt>
                <c:pt idx="68">
                  <c:v>280.12546368569338</c:v>
                </c:pt>
                <c:pt idx="69">
                  <c:v>287.98114181929634</c:v>
                </c:pt>
                <c:pt idx="70">
                  <c:v>295.82512998960465</c:v>
                </c:pt>
                <c:pt idx="71">
                  <c:v>303.65084722123891</c:v>
                </c:pt>
                <c:pt idx="72">
                  <c:v>311.45179661115742</c:v>
                </c:pt>
                <c:pt idx="73">
                  <c:v>319.22159305673347</c:v>
                </c:pt>
                <c:pt idx="74">
                  <c:v>326.95396139404613</c:v>
                </c:pt>
                <c:pt idx="75">
                  <c:v>334.6427348516612</c:v>
                </c:pt>
                <c:pt idx="76">
                  <c:v>342.28188350069786</c:v>
                </c:pt>
                <c:pt idx="77">
                  <c:v>349.86552288659209</c:v>
                </c:pt>
                <c:pt idx="78">
                  <c:v>357.38793916422884</c:v>
                </c:pt>
                <c:pt idx="79">
                  <c:v>364.84360893944034</c:v>
                </c:pt>
                <c:pt idx="80">
                  <c:v>372.22722118369671</c:v>
                </c:pt>
                <c:pt idx="81">
                  <c:v>379.53368908600396</c:v>
                </c:pt>
                <c:pt idx="82">
                  <c:v>386.75814901350435</c:v>
                </c:pt>
                <c:pt idx="83">
                  <c:v>393.89597173699764</c:v>
                </c:pt>
                <c:pt idx="84">
                  <c:v>400.94277006164555</c:v>
                </c:pt>
                <c:pt idx="85">
                  <c:v>407.89440595566873</c:v>
                </c:pt>
                <c:pt idx="86">
                  <c:v>414.74699465113957</c:v>
                </c:pt>
                <c:pt idx="87">
                  <c:v>421.49691261309596</c:v>
                </c:pt>
                <c:pt idx="88">
                  <c:v>428.14080340801422</c:v>
                </c:pt>
                <c:pt idx="89">
                  <c:v>434.67557729456365</c:v>
                </c:pt>
                <c:pt idx="90">
                  <c:v>441.09840791666358</c:v>
                </c:pt>
                <c:pt idx="91">
                  <c:v>447.406733641708</c:v>
                </c:pt>
                <c:pt idx="92">
                  <c:v>453.59825569594642</c:v>
                </c:pt>
                <c:pt idx="93">
                  <c:v>459.67093587151578</c:v>
                </c:pt>
                <c:pt idx="94">
                  <c:v>465.62299274317581</c:v>
                </c:pt>
                <c:pt idx="95">
                  <c:v>471.45290703958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8F-4403-90C7-29C2CAA64F6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92.86040138331235</c:v>
                </c:pt>
                <c:pt idx="43">
                  <c:v>98.902903074240712</c:v>
                </c:pt>
                <c:pt idx="44">
                  <c:v>105.11411211044843</c:v>
                </c:pt>
                <c:pt idx="45">
                  <c:v>111.46520574508935</c:v>
                </c:pt>
                <c:pt idx="46">
                  <c:v>118.08746918490725</c:v>
                </c:pt>
                <c:pt idx="47">
                  <c:v>124.91726233992111</c:v>
                </c:pt>
                <c:pt idx="48">
                  <c:v>131.97697463243694</c:v>
                </c:pt>
                <c:pt idx="49">
                  <c:v>139.22097470414752</c:v>
                </c:pt>
                <c:pt idx="50">
                  <c:v>146.63679235830085</c:v>
                </c:pt>
                <c:pt idx="51">
                  <c:v>154.23466089314587</c:v>
                </c:pt>
                <c:pt idx="52">
                  <c:v>162.00497643996343</c:v>
                </c:pt>
                <c:pt idx="53">
                  <c:v>169.98613685033493</c:v>
                </c:pt>
                <c:pt idx="54">
                  <c:v>178.14894403031843</c:v>
                </c:pt>
                <c:pt idx="55">
                  <c:v>186.48585031083093</c:v>
                </c:pt>
                <c:pt idx="56">
                  <c:v>194.98788489063213</c:v>
                </c:pt>
                <c:pt idx="57">
                  <c:v>203.65440770960475</c:v>
                </c:pt>
                <c:pt idx="58">
                  <c:v>212.47479326545013</c:v>
                </c:pt>
                <c:pt idx="59">
                  <c:v>221.43692462864061</c:v>
                </c:pt>
                <c:pt idx="60">
                  <c:v>230.53670540972971</c:v>
                </c:pt>
                <c:pt idx="61">
                  <c:v>239.79165261965906</c:v>
                </c:pt>
                <c:pt idx="62">
                  <c:v>249.18174212907749</c:v>
                </c:pt>
                <c:pt idx="63">
                  <c:v>258.69682409050944</c:v>
                </c:pt>
                <c:pt idx="64">
                  <c:v>268.32878953618672</c:v>
                </c:pt>
                <c:pt idx="65">
                  <c:v>278.06918966619151</c:v>
                </c:pt>
                <c:pt idx="66">
                  <c:v>287.90930122832867</c:v>
                </c:pt>
                <c:pt idx="67">
                  <c:v>297.83990121341071</c:v>
                </c:pt>
                <c:pt idx="68">
                  <c:v>307.85133640836784</c:v>
                </c:pt>
                <c:pt idx="69">
                  <c:v>317.93356027922414</c:v>
                </c:pt>
                <c:pt idx="70">
                  <c:v>328.07618052181385</c:v>
                </c:pt>
                <c:pt idx="71">
                  <c:v>338.26849033070812</c:v>
                </c:pt>
                <c:pt idx="72">
                  <c:v>348.49962272085691</c:v>
                </c:pt>
                <c:pt idx="73">
                  <c:v>358.75860503800595</c:v>
                </c:pt>
                <c:pt idx="74">
                  <c:v>369.03437456632935</c:v>
                </c:pt>
                <c:pt idx="75">
                  <c:v>379.31579766884016</c:v>
                </c:pt>
                <c:pt idx="76">
                  <c:v>389.59173127268969</c:v>
                </c:pt>
                <c:pt idx="77">
                  <c:v>399.85105749163284</c:v>
                </c:pt>
                <c:pt idx="78">
                  <c:v>410.0827418263234</c:v>
                </c:pt>
                <c:pt idx="79">
                  <c:v>420.27588444669527</c:v>
                </c:pt>
                <c:pt idx="80">
                  <c:v>430.41977509854553</c:v>
                </c:pt>
                <c:pt idx="81">
                  <c:v>440.50393365551326</c:v>
                </c:pt>
                <c:pt idx="82">
                  <c:v>450.51813285864984</c:v>
                </c:pt>
                <c:pt idx="83">
                  <c:v>460.45243764982553</c:v>
                </c:pt>
                <c:pt idx="84">
                  <c:v>470.29723849571093</c:v>
                </c:pt>
                <c:pt idx="85">
                  <c:v>480.04328331785723</c:v>
                </c:pt>
                <c:pt idx="86">
                  <c:v>489.68170400225375</c:v>
                </c:pt>
                <c:pt idx="87">
                  <c:v>499.20404727198371</c:v>
                </c:pt>
                <c:pt idx="88">
                  <c:v>508.60230109045762</c:v>
                </c:pt>
                <c:pt idx="89">
                  <c:v>517.8689110023638</c:v>
                </c:pt>
                <c:pt idx="90">
                  <c:v>526.99679094640646</c:v>
                </c:pt>
                <c:pt idx="91">
                  <c:v>535.97933887280408</c:v>
                </c:pt>
                <c:pt idx="92">
                  <c:v>544.81044624489414</c:v>
                </c:pt>
                <c:pt idx="93">
                  <c:v>553.48450527140199</c:v>
                </c:pt>
                <c:pt idx="94">
                  <c:v>561.99641238630238</c:v>
                </c:pt>
                <c:pt idx="95">
                  <c:v>570.341572112976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8F-4403-90C7-29C2CAA64F6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92.94300494596429</c:v>
                </c:pt>
                <c:pt idx="43">
                  <c:v>99.10683767990831</c:v>
                </c:pt>
                <c:pt idx="44">
                  <c:v>105.48490604764396</c:v>
                </c:pt>
                <c:pt idx="45">
                  <c:v>112.05523286076148</c:v>
                </c:pt>
                <c:pt idx="46">
                  <c:v>118.95577269283899</c:v>
                </c:pt>
                <c:pt idx="47">
                  <c:v>126.12980890208485</c:v>
                </c:pt>
                <c:pt idx="48">
                  <c:v>133.60612811720415</c:v>
                </c:pt>
                <c:pt idx="49">
                  <c:v>141.34524031046402</c:v>
                </c:pt>
                <c:pt idx="50">
                  <c:v>149.34042786874119</c:v>
                </c:pt>
                <c:pt idx="51">
                  <c:v>157.60712495339152</c:v>
                </c:pt>
                <c:pt idx="52">
                  <c:v>166.14057783334636</c:v>
                </c:pt>
                <c:pt idx="53">
                  <c:v>174.98352466063631</c:v>
                </c:pt>
                <c:pt idx="54">
                  <c:v>184.11106983391096</c:v>
                </c:pt>
                <c:pt idx="55">
                  <c:v>193.51926412165008</c:v>
                </c:pt>
                <c:pt idx="56">
                  <c:v>203.20217607506521</c:v>
                </c:pt>
                <c:pt idx="57">
                  <c:v>213.16168224764652</c:v>
                </c:pt>
                <c:pt idx="58">
                  <c:v>223.38921386452671</c:v>
                </c:pt>
                <c:pt idx="59">
                  <c:v>233.8741923118192</c:v>
                </c:pt>
                <c:pt idx="60">
                  <c:v>244.61349026610384</c:v>
                </c:pt>
                <c:pt idx="61">
                  <c:v>255.62501128947</c:v>
                </c:pt>
                <c:pt idx="62">
                  <c:v>266.88868110210763</c:v>
                </c:pt>
                <c:pt idx="63">
                  <c:v>278.39359633752565</c:v>
                </c:pt>
                <c:pt idx="64">
                  <c:v>290.1302147867724</c:v>
                </c:pt>
                <c:pt idx="65">
                  <c:v>302.08807148607923</c:v>
                </c:pt>
                <c:pt idx="66">
                  <c:v>314.25586126728058</c:v>
                </c:pt>
                <c:pt idx="67">
                  <c:v>326.62113652206574</c:v>
                </c:pt>
                <c:pt idx="68">
                  <c:v>339.17040276488478</c:v>
                </c:pt>
                <c:pt idx="69">
                  <c:v>351.88917087022111</c:v>
                </c:pt>
                <c:pt idx="70">
                  <c:v>364.76202978153219</c:v>
                </c:pt>
                <c:pt idx="71">
                  <c:v>377.77270019275051</c:v>
                </c:pt>
                <c:pt idx="72">
                  <c:v>390.90426259315564</c:v>
                </c:pt>
                <c:pt idx="73">
                  <c:v>404.13925296463407</c:v>
                </c:pt>
                <c:pt idx="74">
                  <c:v>417.45971124439552</c:v>
                </c:pt>
                <c:pt idx="75">
                  <c:v>430.84724008987359</c:v>
                </c:pt>
                <c:pt idx="76">
                  <c:v>444.28312358395402</c:v>
                </c:pt>
                <c:pt idx="77">
                  <c:v>457.74841246477439</c:v>
                </c:pt>
                <c:pt idx="78">
                  <c:v>471.2240434000575</c:v>
                </c:pt>
                <c:pt idx="79">
                  <c:v>484.69095057067358</c:v>
                </c:pt>
                <c:pt idx="80">
                  <c:v>498.13018385945884</c:v>
                </c:pt>
                <c:pt idx="81">
                  <c:v>511.52300786323281</c:v>
                </c:pt>
                <c:pt idx="82">
                  <c:v>524.85097716601206</c:v>
                </c:pt>
                <c:pt idx="83">
                  <c:v>538.09603318633231</c:v>
                </c:pt>
                <c:pt idx="84">
                  <c:v>551.24059128639544</c:v>
                </c:pt>
                <c:pt idx="85">
                  <c:v>564.26762431421207</c:v>
                </c:pt>
                <c:pt idx="86">
                  <c:v>577.16073636537942</c:v>
                </c:pt>
                <c:pt idx="87">
                  <c:v>589.90423977245587</c:v>
                </c:pt>
                <c:pt idx="88">
                  <c:v>602.48322277435591</c:v>
                </c:pt>
                <c:pt idx="89">
                  <c:v>614.88360034410175</c:v>
                </c:pt>
                <c:pt idx="90">
                  <c:v>627.09215396009267</c:v>
                </c:pt>
                <c:pt idx="91">
                  <c:v>639.09657399344405</c:v>
                </c:pt>
                <c:pt idx="92">
                  <c:v>650.88548997071143</c:v>
                </c:pt>
                <c:pt idx="93">
                  <c:v>662.44849389770025</c:v>
                </c:pt>
                <c:pt idx="94">
                  <c:v>673.77615468097827</c:v>
                </c:pt>
                <c:pt idx="95">
                  <c:v>684.86002938618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8F-4403-90C7-29C2CAA64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200"/>
              <a:t>Vývoj počtu zasažených</a:t>
            </a:r>
            <a:r>
              <a:rPr lang="cs-CZ" sz="1200" baseline="0"/>
              <a:t> zařízení, úmrtí, nakažených klientů a pracovníků v souvislosti s nemocí Covid-19 ve Zlínském kraji</a:t>
            </a:r>
            <a:endParaRPr lang="cs-CZ" sz="12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0461303466493185"/>
          <c:y val="0.11410999168221472"/>
          <c:w val="0.84303114919434174"/>
          <c:h val="0.78147304201205003"/>
        </c:manualLayout>
      </c:layout>
      <c:scatterChart>
        <c:scatterStyle val="lineMarker"/>
        <c:varyColors val="0"/>
        <c:ser>
          <c:idx val="0"/>
          <c:order val="0"/>
          <c:tx>
            <c:strRef>
              <c:f>Tabulky!$B$6</c:f>
              <c:strCache>
                <c:ptCount val="1"/>
                <c:pt idx="0">
                  <c:v>Zařízení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Tabulky!$A$8:$A$239</c:f>
              <c:numCache>
                <c:formatCode>m/d/yyyy</c:formatCode>
                <c:ptCount val="232"/>
                <c:pt idx="0">
                  <c:v>44126</c:v>
                </c:pt>
                <c:pt idx="1">
                  <c:v>44127</c:v>
                </c:pt>
                <c:pt idx="2">
                  <c:v>44128</c:v>
                </c:pt>
                <c:pt idx="3">
                  <c:v>44129</c:v>
                </c:pt>
                <c:pt idx="4">
                  <c:v>44130</c:v>
                </c:pt>
                <c:pt idx="5">
                  <c:v>44131</c:v>
                </c:pt>
                <c:pt idx="6">
                  <c:v>44132</c:v>
                </c:pt>
                <c:pt idx="7">
                  <c:v>44133</c:v>
                </c:pt>
                <c:pt idx="8">
                  <c:v>44134</c:v>
                </c:pt>
                <c:pt idx="9">
                  <c:v>44135</c:v>
                </c:pt>
                <c:pt idx="10">
                  <c:v>44136</c:v>
                </c:pt>
                <c:pt idx="11">
                  <c:v>44137</c:v>
                </c:pt>
                <c:pt idx="12">
                  <c:v>44139</c:v>
                </c:pt>
                <c:pt idx="13">
                  <c:v>44140</c:v>
                </c:pt>
                <c:pt idx="14">
                  <c:v>44141</c:v>
                </c:pt>
                <c:pt idx="15">
                  <c:v>44142</c:v>
                </c:pt>
                <c:pt idx="16">
                  <c:v>44143</c:v>
                </c:pt>
                <c:pt idx="17">
                  <c:v>44144</c:v>
                </c:pt>
                <c:pt idx="18">
                  <c:v>44145</c:v>
                </c:pt>
                <c:pt idx="19">
                  <c:v>44146</c:v>
                </c:pt>
                <c:pt idx="20">
                  <c:v>44147</c:v>
                </c:pt>
                <c:pt idx="21">
                  <c:v>44148</c:v>
                </c:pt>
                <c:pt idx="22">
                  <c:v>44150</c:v>
                </c:pt>
                <c:pt idx="23">
                  <c:v>44151</c:v>
                </c:pt>
                <c:pt idx="24">
                  <c:v>44152</c:v>
                </c:pt>
                <c:pt idx="25">
                  <c:v>44153</c:v>
                </c:pt>
                <c:pt idx="26">
                  <c:v>44154</c:v>
                </c:pt>
                <c:pt idx="27">
                  <c:v>44155</c:v>
                </c:pt>
                <c:pt idx="28">
                  <c:v>44157</c:v>
                </c:pt>
                <c:pt idx="29">
                  <c:v>44158</c:v>
                </c:pt>
                <c:pt idx="30">
                  <c:v>44159</c:v>
                </c:pt>
                <c:pt idx="31">
                  <c:v>44160</c:v>
                </c:pt>
                <c:pt idx="32">
                  <c:v>44161</c:v>
                </c:pt>
                <c:pt idx="33">
                  <c:v>44162</c:v>
                </c:pt>
                <c:pt idx="34">
                  <c:v>44163</c:v>
                </c:pt>
                <c:pt idx="35">
                  <c:v>44164</c:v>
                </c:pt>
                <c:pt idx="36">
                  <c:v>44165</c:v>
                </c:pt>
                <c:pt idx="37">
                  <c:v>44166</c:v>
                </c:pt>
                <c:pt idx="38">
                  <c:v>44167</c:v>
                </c:pt>
                <c:pt idx="39">
                  <c:v>44168</c:v>
                </c:pt>
                <c:pt idx="40">
                  <c:v>44169</c:v>
                </c:pt>
                <c:pt idx="41">
                  <c:v>44172</c:v>
                </c:pt>
                <c:pt idx="42">
                  <c:v>44173</c:v>
                </c:pt>
                <c:pt idx="43">
                  <c:v>44174</c:v>
                </c:pt>
                <c:pt idx="44">
                  <c:v>44175</c:v>
                </c:pt>
                <c:pt idx="45">
                  <c:v>44176</c:v>
                </c:pt>
                <c:pt idx="46">
                  <c:v>44177</c:v>
                </c:pt>
                <c:pt idx="47">
                  <c:v>44178</c:v>
                </c:pt>
                <c:pt idx="48">
                  <c:v>44179</c:v>
                </c:pt>
                <c:pt idx="49">
                  <c:v>44180</c:v>
                </c:pt>
                <c:pt idx="50">
                  <c:v>44181</c:v>
                </c:pt>
                <c:pt idx="51">
                  <c:v>44182</c:v>
                </c:pt>
                <c:pt idx="52">
                  <c:v>44183</c:v>
                </c:pt>
                <c:pt idx="53">
                  <c:v>44184</c:v>
                </c:pt>
                <c:pt idx="54">
                  <c:v>44185</c:v>
                </c:pt>
                <c:pt idx="55">
                  <c:v>44186</c:v>
                </c:pt>
                <c:pt idx="56">
                  <c:v>44187</c:v>
                </c:pt>
                <c:pt idx="57">
                  <c:v>44188</c:v>
                </c:pt>
                <c:pt idx="58">
                  <c:v>44189</c:v>
                </c:pt>
                <c:pt idx="59">
                  <c:v>44190</c:v>
                </c:pt>
                <c:pt idx="60">
                  <c:v>44191</c:v>
                </c:pt>
                <c:pt idx="61">
                  <c:v>44192</c:v>
                </c:pt>
                <c:pt idx="62">
                  <c:v>44193</c:v>
                </c:pt>
                <c:pt idx="63">
                  <c:v>44194</c:v>
                </c:pt>
                <c:pt idx="64">
                  <c:v>44195</c:v>
                </c:pt>
                <c:pt idx="65">
                  <c:v>44196</c:v>
                </c:pt>
                <c:pt idx="66">
                  <c:v>44197</c:v>
                </c:pt>
                <c:pt idx="67">
                  <c:v>44198</c:v>
                </c:pt>
                <c:pt idx="68">
                  <c:v>44199</c:v>
                </c:pt>
                <c:pt idx="69">
                  <c:v>44200</c:v>
                </c:pt>
                <c:pt idx="70">
                  <c:v>44201</c:v>
                </c:pt>
                <c:pt idx="71">
                  <c:v>44202</c:v>
                </c:pt>
                <c:pt idx="72">
                  <c:v>44203</c:v>
                </c:pt>
                <c:pt idx="73">
                  <c:v>44204</c:v>
                </c:pt>
                <c:pt idx="74">
                  <c:v>44205</c:v>
                </c:pt>
                <c:pt idx="75">
                  <c:v>44206</c:v>
                </c:pt>
                <c:pt idx="76">
                  <c:v>44207</c:v>
                </c:pt>
                <c:pt idx="77">
                  <c:v>44209</c:v>
                </c:pt>
                <c:pt idx="78">
                  <c:v>44210</c:v>
                </c:pt>
                <c:pt idx="79">
                  <c:v>44211</c:v>
                </c:pt>
                <c:pt idx="80">
                  <c:v>44212</c:v>
                </c:pt>
                <c:pt idx="81">
                  <c:v>44213</c:v>
                </c:pt>
                <c:pt idx="82">
                  <c:v>44214</c:v>
                </c:pt>
                <c:pt idx="83">
                  <c:v>44215</c:v>
                </c:pt>
                <c:pt idx="84">
                  <c:v>44216</c:v>
                </c:pt>
                <c:pt idx="85">
                  <c:v>44217</c:v>
                </c:pt>
                <c:pt idx="86">
                  <c:v>44218</c:v>
                </c:pt>
                <c:pt idx="87">
                  <c:v>44219</c:v>
                </c:pt>
                <c:pt idx="88">
                  <c:v>44220</c:v>
                </c:pt>
                <c:pt idx="89">
                  <c:v>44221</c:v>
                </c:pt>
                <c:pt idx="90">
                  <c:v>44222</c:v>
                </c:pt>
                <c:pt idx="91">
                  <c:v>44223</c:v>
                </c:pt>
                <c:pt idx="92">
                  <c:v>44224</c:v>
                </c:pt>
                <c:pt idx="93">
                  <c:v>44225</c:v>
                </c:pt>
                <c:pt idx="94">
                  <c:v>44226</c:v>
                </c:pt>
                <c:pt idx="95">
                  <c:v>44227</c:v>
                </c:pt>
                <c:pt idx="96">
                  <c:v>44228</c:v>
                </c:pt>
                <c:pt idx="97">
                  <c:v>44229</c:v>
                </c:pt>
                <c:pt idx="98">
                  <c:v>44230</c:v>
                </c:pt>
                <c:pt idx="99">
                  <c:v>44232</c:v>
                </c:pt>
                <c:pt idx="100">
                  <c:v>44233</c:v>
                </c:pt>
                <c:pt idx="101">
                  <c:v>44234</c:v>
                </c:pt>
                <c:pt idx="102">
                  <c:v>44235</c:v>
                </c:pt>
                <c:pt idx="103">
                  <c:v>44236</c:v>
                </c:pt>
                <c:pt idx="104">
                  <c:v>44237</c:v>
                </c:pt>
                <c:pt idx="105">
                  <c:v>44240</c:v>
                </c:pt>
                <c:pt idx="106">
                  <c:v>44241</c:v>
                </c:pt>
                <c:pt idx="107">
                  <c:v>44242</c:v>
                </c:pt>
                <c:pt idx="108">
                  <c:v>44243</c:v>
                </c:pt>
                <c:pt idx="109">
                  <c:v>44244</c:v>
                </c:pt>
                <c:pt idx="110">
                  <c:v>44245</c:v>
                </c:pt>
                <c:pt idx="111">
                  <c:v>44246</c:v>
                </c:pt>
                <c:pt idx="112">
                  <c:v>44247</c:v>
                </c:pt>
                <c:pt idx="113">
                  <c:v>44248</c:v>
                </c:pt>
                <c:pt idx="114">
                  <c:v>44249</c:v>
                </c:pt>
                <c:pt idx="115">
                  <c:v>44250</c:v>
                </c:pt>
                <c:pt idx="116">
                  <c:v>44251</c:v>
                </c:pt>
                <c:pt idx="117">
                  <c:v>44252</c:v>
                </c:pt>
                <c:pt idx="118">
                  <c:v>44253</c:v>
                </c:pt>
                <c:pt idx="119">
                  <c:v>44254</c:v>
                </c:pt>
                <c:pt idx="120">
                  <c:v>44255</c:v>
                </c:pt>
                <c:pt idx="121">
                  <c:v>44256</c:v>
                </c:pt>
                <c:pt idx="122">
                  <c:v>44257</c:v>
                </c:pt>
                <c:pt idx="123">
                  <c:v>44258</c:v>
                </c:pt>
                <c:pt idx="124">
                  <c:v>44259</c:v>
                </c:pt>
                <c:pt idx="125">
                  <c:v>44260</c:v>
                </c:pt>
                <c:pt idx="126">
                  <c:v>44261</c:v>
                </c:pt>
                <c:pt idx="127">
                  <c:v>44262</c:v>
                </c:pt>
                <c:pt idx="128">
                  <c:v>44263</c:v>
                </c:pt>
                <c:pt idx="129">
                  <c:v>44264</c:v>
                </c:pt>
                <c:pt idx="130">
                  <c:v>44265</c:v>
                </c:pt>
                <c:pt idx="131">
                  <c:v>44266</c:v>
                </c:pt>
                <c:pt idx="132">
                  <c:v>44267</c:v>
                </c:pt>
                <c:pt idx="133">
                  <c:v>44268</c:v>
                </c:pt>
                <c:pt idx="134">
                  <c:v>44269</c:v>
                </c:pt>
                <c:pt idx="135">
                  <c:v>44270</c:v>
                </c:pt>
                <c:pt idx="136">
                  <c:v>44271</c:v>
                </c:pt>
                <c:pt idx="137">
                  <c:v>44272</c:v>
                </c:pt>
                <c:pt idx="138">
                  <c:v>44273</c:v>
                </c:pt>
                <c:pt idx="139">
                  <c:v>44274</c:v>
                </c:pt>
                <c:pt idx="140">
                  <c:v>44275</c:v>
                </c:pt>
                <c:pt idx="141">
                  <c:v>44276</c:v>
                </c:pt>
                <c:pt idx="142">
                  <c:v>44277</c:v>
                </c:pt>
                <c:pt idx="143">
                  <c:v>44278</c:v>
                </c:pt>
                <c:pt idx="144">
                  <c:v>44279</c:v>
                </c:pt>
                <c:pt idx="145">
                  <c:v>44280</c:v>
                </c:pt>
                <c:pt idx="146">
                  <c:v>44281</c:v>
                </c:pt>
                <c:pt idx="147">
                  <c:v>44282</c:v>
                </c:pt>
                <c:pt idx="148">
                  <c:v>44283</c:v>
                </c:pt>
                <c:pt idx="149">
                  <c:v>44284</c:v>
                </c:pt>
                <c:pt idx="150">
                  <c:v>44285</c:v>
                </c:pt>
                <c:pt idx="151">
                  <c:v>44286</c:v>
                </c:pt>
                <c:pt idx="152">
                  <c:v>44287</c:v>
                </c:pt>
                <c:pt idx="153">
                  <c:v>44288</c:v>
                </c:pt>
                <c:pt idx="154">
                  <c:v>44289</c:v>
                </c:pt>
                <c:pt idx="155">
                  <c:v>44290</c:v>
                </c:pt>
                <c:pt idx="156">
                  <c:v>44291</c:v>
                </c:pt>
                <c:pt idx="157">
                  <c:v>44292</c:v>
                </c:pt>
                <c:pt idx="158">
                  <c:v>44293</c:v>
                </c:pt>
                <c:pt idx="159">
                  <c:v>44294</c:v>
                </c:pt>
                <c:pt idx="160">
                  <c:v>44295</c:v>
                </c:pt>
                <c:pt idx="161">
                  <c:v>44296</c:v>
                </c:pt>
                <c:pt idx="162">
                  <c:v>44297</c:v>
                </c:pt>
                <c:pt idx="163">
                  <c:v>44298</c:v>
                </c:pt>
                <c:pt idx="164">
                  <c:v>44299</c:v>
                </c:pt>
                <c:pt idx="165">
                  <c:v>44300</c:v>
                </c:pt>
                <c:pt idx="166">
                  <c:v>44301</c:v>
                </c:pt>
                <c:pt idx="167">
                  <c:v>44302</c:v>
                </c:pt>
                <c:pt idx="168">
                  <c:v>44303</c:v>
                </c:pt>
                <c:pt idx="169">
                  <c:v>44304</c:v>
                </c:pt>
                <c:pt idx="170">
                  <c:v>44305</c:v>
                </c:pt>
                <c:pt idx="171">
                  <c:v>44306</c:v>
                </c:pt>
                <c:pt idx="172">
                  <c:v>44307</c:v>
                </c:pt>
                <c:pt idx="173">
                  <c:v>44308</c:v>
                </c:pt>
                <c:pt idx="174">
                  <c:v>44309</c:v>
                </c:pt>
                <c:pt idx="175">
                  <c:v>44310</c:v>
                </c:pt>
                <c:pt idx="176">
                  <c:v>44311</c:v>
                </c:pt>
                <c:pt idx="177">
                  <c:v>44312</c:v>
                </c:pt>
                <c:pt idx="178">
                  <c:v>44313</c:v>
                </c:pt>
                <c:pt idx="179">
                  <c:v>44314</c:v>
                </c:pt>
                <c:pt idx="180">
                  <c:v>44315</c:v>
                </c:pt>
                <c:pt idx="181">
                  <c:v>44316</c:v>
                </c:pt>
                <c:pt idx="182">
                  <c:v>44317</c:v>
                </c:pt>
                <c:pt idx="183">
                  <c:v>44318</c:v>
                </c:pt>
                <c:pt idx="184">
                  <c:v>44319</c:v>
                </c:pt>
                <c:pt idx="185">
                  <c:v>44320</c:v>
                </c:pt>
                <c:pt idx="186">
                  <c:v>44321</c:v>
                </c:pt>
                <c:pt idx="187">
                  <c:v>44322</c:v>
                </c:pt>
                <c:pt idx="188">
                  <c:v>44323</c:v>
                </c:pt>
                <c:pt idx="189">
                  <c:v>44324</c:v>
                </c:pt>
                <c:pt idx="190">
                  <c:v>44325</c:v>
                </c:pt>
                <c:pt idx="191">
                  <c:v>44326</c:v>
                </c:pt>
                <c:pt idx="192">
                  <c:v>44327</c:v>
                </c:pt>
                <c:pt idx="193">
                  <c:v>44328</c:v>
                </c:pt>
                <c:pt idx="194">
                  <c:v>44329</c:v>
                </c:pt>
                <c:pt idx="195">
                  <c:v>44330</c:v>
                </c:pt>
                <c:pt idx="196">
                  <c:v>44331</c:v>
                </c:pt>
                <c:pt idx="197">
                  <c:v>44332</c:v>
                </c:pt>
                <c:pt idx="198">
                  <c:v>44333</c:v>
                </c:pt>
                <c:pt idx="199">
                  <c:v>44334</c:v>
                </c:pt>
                <c:pt idx="200">
                  <c:v>44335</c:v>
                </c:pt>
                <c:pt idx="201">
                  <c:v>44336</c:v>
                </c:pt>
                <c:pt idx="202">
                  <c:v>44337</c:v>
                </c:pt>
                <c:pt idx="203">
                  <c:v>44338</c:v>
                </c:pt>
                <c:pt idx="204">
                  <c:v>44339</c:v>
                </c:pt>
                <c:pt idx="205">
                  <c:v>44340</c:v>
                </c:pt>
                <c:pt idx="206">
                  <c:v>44341</c:v>
                </c:pt>
                <c:pt idx="207">
                  <c:v>44342</c:v>
                </c:pt>
                <c:pt idx="208">
                  <c:v>44343</c:v>
                </c:pt>
                <c:pt idx="209">
                  <c:v>44344</c:v>
                </c:pt>
                <c:pt idx="210">
                  <c:v>44345</c:v>
                </c:pt>
                <c:pt idx="211">
                  <c:v>44346</c:v>
                </c:pt>
                <c:pt idx="212">
                  <c:v>44348</c:v>
                </c:pt>
                <c:pt idx="213">
                  <c:v>44354</c:v>
                </c:pt>
                <c:pt idx="214">
                  <c:v>44361</c:v>
                </c:pt>
                <c:pt idx="215">
                  <c:v>44368</c:v>
                </c:pt>
                <c:pt idx="216">
                  <c:v>44375</c:v>
                </c:pt>
                <c:pt idx="217">
                  <c:v>44389</c:v>
                </c:pt>
                <c:pt idx="218">
                  <c:v>44396</c:v>
                </c:pt>
                <c:pt idx="219">
                  <c:v>44403</c:v>
                </c:pt>
                <c:pt idx="220">
                  <c:v>44410</c:v>
                </c:pt>
                <c:pt idx="221">
                  <c:v>44454</c:v>
                </c:pt>
                <c:pt idx="222">
                  <c:v>44460</c:v>
                </c:pt>
                <c:pt idx="223">
                  <c:v>44474</c:v>
                </c:pt>
                <c:pt idx="224">
                  <c:v>44481</c:v>
                </c:pt>
                <c:pt idx="225">
                  <c:v>44488</c:v>
                </c:pt>
                <c:pt idx="226">
                  <c:v>44495</c:v>
                </c:pt>
                <c:pt idx="227">
                  <c:v>44502</c:v>
                </c:pt>
                <c:pt idx="228">
                  <c:v>44509</c:v>
                </c:pt>
                <c:pt idx="229">
                  <c:v>44516</c:v>
                </c:pt>
                <c:pt idx="230">
                  <c:v>44523</c:v>
                </c:pt>
              </c:numCache>
            </c:numRef>
          </c:xVal>
          <c:yVal>
            <c:numRef>
              <c:f>Tabulky!$C$8:$C$239</c:f>
              <c:numCache>
                <c:formatCode>General</c:formatCode>
                <c:ptCount val="232"/>
                <c:pt idx="0">
                  <c:v>42</c:v>
                </c:pt>
                <c:pt idx="1">
                  <c:v>54</c:v>
                </c:pt>
                <c:pt idx="2">
                  <c:v>56</c:v>
                </c:pt>
                <c:pt idx="3">
                  <c:v>59</c:v>
                </c:pt>
                <c:pt idx="4">
                  <c:v>61</c:v>
                </c:pt>
                <c:pt idx="5">
                  <c:v>59</c:v>
                </c:pt>
                <c:pt idx="6">
                  <c:v>60</c:v>
                </c:pt>
                <c:pt idx="7">
                  <c:v>60</c:v>
                </c:pt>
                <c:pt idx="8">
                  <c:v>58</c:v>
                </c:pt>
                <c:pt idx="9">
                  <c:v>60</c:v>
                </c:pt>
                <c:pt idx="10">
                  <c:v>60</c:v>
                </c:pt>
                <c:pt idx="11">
                  <c:v>60</c:v>
                </c:pt>
                <c:pt idx="12">
                  <c:v>64</c:v>
                </c:pt>
                <c:pt idx="13">
                  <c:v>66</c:v>
                </c:pt>
                <c:pt idx="14">
                  <c:v>68</c:v>
                </c:pt>
                <c:pt idx="15">
                  <c:v>69</c:v>
                </c:pt>
                <c:pt idx="16">
                  <c:v>68</c:v>
                </c:pt>
                <c:pt idx="17">
                  <c:v>64</c:v>
                </c:pt>
                <c:pt idx="18">
                  <c:v>65</c:v>
                </c:pt>
                <c:pt idx="19">
                  <c:v>66</c:v>
                </c:pt>
                <c:pt idx="20">
                  <c:v>65</c:v>
                </c:pt>
                <c:pt idx="21">
                  <c:v>68</c:v>
                </c:pt>
                <c:pt idx="22">
                  <c:v>69</c:v>
                </c:pt>
                <c:pt idx="23">
                  <c:v>64</c:v>
                </c:pt>
                <c:pt idx="24">
                  <c:v>70</c:v>
                </c:pt>
                <c:pt idx="25">
                  <c:v>72</c:v>
                </c:pt>
                <c:pt idx="26">
                  <c:v>71</c:v>
                </c:pt>
                <c:pt idx="27">
                  <c:v>71</c:v>
                </c:pt>
                <c:pt idx="28">
                  <c:v>69</c:v>
                </c:pt>
                <c:pt idx="29">
                  <c:v>69</c:v>
                </c:pt>
                <c:pt idx="30">
                  <c:v>68</c:v>
                </c:pt>
                <c:pt idx="31">
                  <c:v>69</c:v>
                </c:pt>
                <c:pt idx="32">
                  <c:v>69</c:v>
                </c:pt>
                <c:pt idx="33">
                  <c:v>68</c:v>
                </c:pt>
                <c:pt idx="34">
                  <c:v>68</c:v>
                </c:pt>
                <c:pt idx="35">
                  <c:v>68</c:v>
                </c:pt>
                <c:pt idx="36">
                  <c:v>68</c:v>
                </c:pt>
                <c:pt idx="37">
                  <c:v>65</c:v>
                </c:pt>
                <c:pt idx="38">
                  <c:v>62</c:v>
                </c:pt>
                <c:pt idx="39">
                  <c:v>61</c:v>
                </c:pt>
                <c:pt idx="40">
                  <c:v>56</c:v>
                </c:pt>
                <c:pt idx="41">
                  <c:v>55</c:v>
                </c:pt>
                <c:pt idx="42">
                  <c:v>58</c:v>
                </c:pt>
                <c:pt idx="43">
                  <c:v>59</c:v>
                </c:pt>
                <c:pt idx="44">
                  <c:v>59</c:v>
                </c:pt>
                <c:pt idx="45">
                  <c:v>58</c:v>
                </c:pt>
                <c:pt idx="46">
                  <c:v>58</c:v>
                </c:pt>
                <c:pt idx="47">
                  <c:v>59</c:v>
                </c:pt>
                <c:pt idx="48">
                  <c:v>60</c:v>
                </c:pt>
                <c:pt idx="49">
                  <c:v>61</c:v>
                </c:pt>
                <c:pt idx="50">
                  <c:v>58</c:v>
                </c:pt>
                <c:pt idx="51">
                  <c:v>59</c:v>
                </c:pt>
                <c:pt idx="52">
                  <c:v>59</c:v>
                </c:pt>
                <c:pt idx="53">
                  <c:v>60</c:v>
                </c:pt>
                <c:pt idx="54">
                  <c:v>60</c:v>
                </c:pt>
                <c:pt idx="55">
                  <c:v>61</c:v>
                </c:pt>
                <c:pt idx="56">
                  <c:v>60</c:v>
                </c:pt>
                <c:pt idx="57">
                  <c:v>60</c:v>
                </c:pt>
                <c:pt idx="58">
                  <c:v>61</c:v>
                </c:pt>
                <c:pt idx="59">
                  <c:v>61</c:v>
                </c:pt>
                <c:pt idx="60">
                  <c:v>61</c:v>
                </c:pt>
                <c:pt idx="61">
                  <c:v>61</c:v>
                </c:pt>
                <c:pt idx="62">
                  <c:v>59</c:v>
                </c:pt>
                <c:pt idx="63">
                  <c:v>62</c:v>
                </c:pt>
                <c:pt idx="64">
                  <c:v>62</c:v>
                </c:pt>
                <c:pt idx="65">
                  <c:v>63</c:v>
                </c:pt>
                <c:pt idx="66">
                  <c:v>63</c:v>
                </c:pt>
                <c:pt idx="67">
                  <c:v>64</c:v>
                </c:pt>
                <c:pt idx="68">
                  <c:v>63</c:v>
                </c:pt>
                <c:pt idx="69">
                  <c:v>63</c:v>
                </c:pt>
                <c:pt idx="70">
                  <c:v>64</c:v>
                </c:pt>
                <c:pt idx="71">
                  <c:v>64</c:v>
                </c:pt>
                <c:pt idx="72">
                  <c:v>66</c:v>
                </c:pt>
                <c:pt idx="73">
                  <c:v>59</c:v>
                </c:pt>
                <c:pt idx="74">
                  <c:v>59</c:v>
                </c:pt>
                <c:pt idx="75">
                  <c:v>59</c:v>
                </c:pt>
                <c:pt idx="76">
                  <c:v>60</c:v>
                </c:pt>
                <c:pt idx="77">
                  <c:v>61</c:v>
                </c:pt>
                <c:pt idx="78">
                  <c:v>61</c:v>
                </c:pt>
                <c:pt idx="79">
                  <c:v>62</c:v>
                </c:pt>
                <c:pt idx="80">
                  <c:v>61</c:v>
                </c:pt>
                <c:pt idx="81">
                  <c:v>61</c:v>
                </c:pt>
                <c:pt idx="82">
                  <c:v>60</c:v>
                </c:pt>
                <c:pt idx="83">
                  <c:v>58</c:v>
                </c:pt>
                <c:pt idx="84">
                  <c:v>58</c:v>
                </c:pt>
                <c:pt idx="85">
                  <c:v>56</c:v>
                </c:pt>
                <c:pt idx="86">
                  <c:v>56</c:v>
                </c:pt>
                <c:pt idx="87">
                  <c:v>56</c:v>
                </c:pt>
                <c:pt idx="88">
                  <c:v>56</c:v>
                </c:pt>
                <c:pt idx="89">
                  <c:v>58</c:v>
                </c:pt>
                <c:pt idx="90">
                  <c:v>58</c:v>
                </c:pt>
                <c:pt idx="91">
                  <c:v>57</c:v>
                </c:pt>
                <c:pt idx="92">
                  <c:v>56</c:v>
                </c:pt>
                <c:pt idx="93">
                  <c:v>49</c:v>
                </c:pt>
                <c:pt idx="94">
                  <c:v>49</c:v>
                </c:pt>
                <c:pt idx="95">
                  <c:v>49</c:v>
                </c:pt>
                <c:pt idx="96">
                  <c:v>44</c:v>
                </c:pt>
                <c:pt idx="97">
                  <c:v>43</c:v>
                </c:pt>
                <c:pt idx="98">
                  <c:v>42</c:v>
                </c:pt>
                <c:pt idx="99">
                  <c:v>40</c:v>
                </c:pt>
                <c:pt idx="100">
                  <c:v>41</c:v>
                </c:pt>
                <c:pt idx="101">
                  <c:v>41</c:v>
                </c:pt>
                <c:pt idx="102">
                  <c:v>42</c:v>
                </c:pt>
                <c:pt idx="103">
                  <c:v>38</c:v>
                </c:pt>
                <c:pt idx="104">
                  <c:v>37</c:v>
                </c:pt>
                <c:pt idx="105">
                  <c:v>38</c:v>
                </c:pt>
                <c:pt idx="106">
                  <c:v>38</c:v>
                </c:pt>
                <c:pt idx="107">
                  <c:v>37</c:v>
                </c:pt>
                <c:pt idx="108">
                  <c:v>36</c:v>
                </c:pt>
                <c:pt idx="109">
                  <c:v>36</c:v>
                </c:pt>
                <c:pt idx="110">
                  <c:v>34</c:v>
                </c:pt>
                <c:pt idx="111">
                  <c:v>33</c:v>
                </c:pt>
                <c:pt idx="112">
                  <c:v>34</c:v>
                </c:pt>
                <c:pt idx="113">
                  <c:v>34</c:v>
                </c:pt>
                <c:pt idx="114">
                  <c:v>32</c:v>
                </c:pt>
                <c:pt idx="115">
                  <c:v>32</c:v>
                </c:pt>
                <c:pt idx="116">
                  <c:v>34</c:v>
                </c:pt>
                <c:pt idx="117">
                  <c:v>34</c:v>
                </c:pt>
                <c:pt idx="118">
                  <c:v>34</c:v>
                </c:pt>
                <c:pt idx="119">
                  <c:v>34</c:v>
                </c:pt>
                <c:pt idx="120">
                  <c:v>34</c:v>
                </c:pt>
                <c:pt idx="121">
                  <c:v>34</c:v>
                </c:pt>
                <c:pt idx="122">
                  <c:v>37</c:v>
                </c:pt>
                <c:pt idx="123">
                  <c:v>37</c:v>
                </c:pt>
                <c:pt idx="124">
                  <c:v>39</c:v>
                </c:pt>
                <c:pt idx="125">
                  <c:v>39</c:v>
                </c:pt>
                <c:pt idx="126">
                  <c:v>38</c:v>
                </c:pt>
                <c:pt idx="127">
                  <c:v>38</c:v>
                </c:pt>
                <c:pt idx="128">
                  <c:v>38</c:v>
                </c:pt>
                <c:pt idx="129">
                  <c:v>36</c:v>
                </c:pt>
                <c:pt idx="130">
                  <c:v>36</c:v>
                </c:pt>
                <c:pt idx="131">
                  <c:v>38</c:v>
                </c:pt>
                <c:pt idx="132">
                  <c:v>38</c:v>
                </c:pt>
                <c:pt idx="133">
                  <c:v>38</c:v>
                </c:pt>
                <c:pt idx="134">
                  <c:v>38</c:v>
                </c:pt>
                <c:pt idx="135">
                  <c:v>39</c:v>
                </c:pt>
                <c:pt idx="136">
                  <c:v>40</c:v>
                </c:pt>
                <c:pt idx="137">
                  <c:v>39</c:v>
                </c:pt>
                <c:pt idx="138">
                  <c:v>37</c:v>
                </c:pt>
                <c:pt idx="139">
                  <c:v>37</c:v>
                </c:pt>
                <c:pt idx="140">
                  <c:v>38</c:v>
                </c:pt>
                <c:pt idx="141">
                  <c:v>38</c:v>
                </c:pt>
                <c:pt idx="142">
                  <c:v>37</c:v>
                </c:pt>
                <c:pt idx="143">
                  <c:v>37</c:v>
                </c:pt>
                <c:pt idx="144">
                  <c:v>37</c:v>
                </c:pt>
                <c:pt idx="145">
                  <c:v>38</c:v>
                </c:pt>
                <c:pt idx="146">
                  <c:v>38</c:v>
                </c:pt>
                <c:pt idx="147">
                  <c:v>39</c:v>
                </c:pt>
                <c:pt idx="148">
                  <c:v>39</c:v>
                </c:pt>
                <c:pt idx="149">
                  <c:v>39</c:v>
                </c:pt>
                <c:pt idx="150">
                  <c:v>40</c:v>
                </c:pt>
                <c:pt idx="151">
                  <c:v>39</c:v>
                </c:pt>
                <c:pt idx="152">
                  <c:v>37</c:v>
                </c:pt>
                <c:pt idx="153">
                  <c:v>36</c:v>
                </c:pt>
                <c:pt idx="154">
                  <c:v>36</c:v>
                </c:pt>
                <c:pt idx="155">
                  <c:v>36</c:v>
                </c:pt>
                <c:pt idx="156">
                  <c:v>35</c:v>
                </c:pt>
                <c:pt idx="157">
                  <c:v>34</c:v>
                </c:pt>
                <c:pt idx="158">
                  <c:v>35</c:v>
                </c:pt>
                <c:pt idx="159">
                  <c:v>34</c:v>
                </c:pt>
                <c:pt idx="160">
                  <c:v>34</c:v>
                </c:pt>
                <c:pt idx="161">
                  <c:v>34</c:v>
                </c:pt>
                <c:pt idx="162">
                  <c:v>34</c:v>
                </c:pt>
                <c:pt idx="163">
                  <c:v>32</c:v>
                </c:pt>
                <c:pt idx="164">
                  <c:v>35</c:v>
                </c:pt>
                <c:pt idx="165">
                  <c:v>35</c:v>
                </c:pt>
                <c:pt idx="166">
                  <c:v>35</c:v>
                </c:pt>
                <c:pt idx="167">
                  <c:v>36</c:v>
                </c:pt>
                <c:pt idx="168">
                  <c:v>36</c:v>
                </c:pt>
                <c:pt idx="169">
                  <c:v>36</c:v>
                </c:pt>
                <c:pt idx="170">
                  <c:v>36</c:v>
                </c:pt>
                <c:pt idx="171">
                  <c:v>37</c:v>
                </c:pt>
                <c:pt idx="172">
                  <c:v>37</c:v>
                </c:pt>
                <c:pt idx="173">
                  <c:v>36</c:v>
                </c:pt>
                <c:pt idx="174">
                  <c:v>36</c:v>
                </c:pt>
                <c:pt idx="175">
                  <c:v>38</c:v>
                </c:pt>
                <c:pt idx="176">
                  <c:v>38</c:v>
                </c:pt>
                <c:pt idx="177">
                  <c:v>35</c:v>
                </c:pt>
                <c:pt idx="178">
                  <c:v>36</c:v>
                </c:pt>
                <c:pt idx="179">
                  <c:v>37</c:v>
                </c:pt>
                <c:pt idx="180">
                  <c:v>37</c:v>
                </c:pt>
                <c:pt idx="181">
                  <c:v>33</c:v>
                </c:pt>
                <c:pt idx="182">
                  <c:v>33</c:v>
                </c:pt>
                <c:pt idx="183">
                  <c:v>30</c:v>
                </c:pt>
                <c:pt idx="184">
                  <c:v>30</c:v>
                </c:pt>
                <c:pt idx="185">
                  <c:v>32</c:v>
                </c:pt>
                <c:pt idx="186">
                  <c:v>33</c:v>
                </c:pt>
                <c:pt idx="187">
                  <c:v>33</c:v>
                </c:pt>
                <c:pt idx="188">
                  <c:v>33</c:v>
                </c:pt>
                <c:pt idx="189">
                  <c:v>33</c:v>
                </c:pt>
                <c:pt idx="190">
                  <c:v>34</c:v>
                </c:pt>
                <c:pt idx="191">
                  <c:v>34</c:v>
                </c:pt>
                <c:pt idx="192">
                  <c:v>33</c:v>
                </c:pt>
                <c:pt idx="193">
                  <c:v>33</c:v>
                </c:pt>
                <c:pt idx="194">
                  <c:v>31</c:v>
                </c:pt>
                <c:pt idx="195">
                  <c:v>32</c:v>
                </c:pt>
                <c:pt idx="196">
                  <c:v>32</c:v>
                </c:pt>
                <c:pt idx="197">
                  <c:v>32</c:v>
                </c:pt>
                <c:pt idx="198">
                  <c:v>31</c:v>
                </c:pt>
                <c:pt idx="199">
                  <c:v>31</c:v>
                </c:pt>
                <c:pt idx="200">
                  <c:v>31</c:v>
                </c:pt>
                <c:pt idx="201">
                  <c:v>32</c:v>
                </c:pt>
                <c:pt idx="202">
                  <c:v>31</c:v>
                </c:pt>
                <c:pt idx="203">
                  <c:v>31</c:v>
                </c:pt>
                <c:pt idx="204">
                  <c:v>31</c:v>
                </c:pt>
                <c:pt idx="205">
                  <c:v>31</c:v>
                </c:pt>
                <c:pt idx="206">
                  <c:v>31</c:v>
                </c:pt>
                <c:pt idx="207">
                  <c:v>31</c:v>
                </c:pt>
                <c:pt idx="208">
                  <c:v>31</c:v>
                </c:pt>
                <c:pt idx="209">
                  <c:v>31</c:v>
                </c:pt>
                <c:pt idx="210">
                  <c:v>31</c:v>
                </c:pt>
                <c:pt idx="211">
                  <c:v>31</c:v>
                </c:pt>
                <c:pt idx="212">
                  <c:v>28</c:v>
                </c:pt>
                <c:pt idx="213">
                  <c:v>25</c:v>
                </c:pt>
                <c:pt idx="214">
                  <c:v>26</c:v>
                </c:pt>
                <c:pt idx="215">
                  <c:v>24</c:v>
                </c:pt>
                <c:pt idx="216">
                  <c:v>21</c:v>
                </c:pt>
                <c:pt idx="217">
                  <c:v>13</c:v>
                </c:pt>
                <c:pt idx="218">
                  <c:v>10</c:v>
                </c:pt>
                <c:pt idx="219">
                  <c:v>11</c:v>
                </c:pt>
                <c:pt idx="220">
                  <c:v>11</c:v>
                </c:pt>
                <c:pt idx="221">
                  <c:v>3</c:v>
                </c:pt>
                <c:pt idx="222">
                  <c:v>3</c:v>
                </c:pt>
                <c:pt idx="223">
                  <c:v>2</c:v>
                </c:pt>
                <c:pt idx="224">
                  <c:v>6</c:v>
                </c:pt>
                <c:pt idx="225">
                  <c:v>4</c:v>
                </c:pt>
                <c:pt idx="226">
                  <c:v>7</c:v>
                </c:pt>
                <c:pt idx="227">
                  <c:v>19</c:v>
                </c:pt>
                <c:pt idx="228">
                  <c:v>32</c:v>
                </c:pt>
                <c:pt idx="229">
                  <c:v>49</c:v>
                </c:pt>
                <c:pt idx="230">
                  <c:v>5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B4B8-4BAD-B6F2-2E2A69C4DC8A}"/>
            </c:ext>
          </c:extLst>
        </c:ser>
        <c:ser>
          <c:idx val="1"/>
          <c:order val="1"/>
          <c:tx>
            <c:strRef>
              <c:f>Tabulky!$D$6</c:f>
              <c:strCache>
                <c:ptCount val="1"/>
                <c:pt idx="0">
                  <c:v>Klienti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Tabulky!$A$8:$A$239</c:f>
              <c:numCache>
                <c:formatCode>m/d/yyyy</c:formatCode>
                <c:ptCount val="232"/>
                <c:pt idx="0">
                  <c:v>44126</c:v>
                </c:pt>
                <c:pt idx="1">
                  <c:v>44127</c:v>
                </c:pt>
                <c:pt idx="2">
                  <c:v>44128</c:v>
                </c:pt>
                <c:pt idx="3">
                  <c:v>44129</c:v>
                </c:pt>
                <c:pt idx="4">
                  <c:v>44130</c:v>
                </c:pt>
                <c:pt idx="5">
                  <c:v>44131</c:v>
                </c:pt>
                <c:pt idx="6">
                  <c:v>44132</c:v>
                </c:pt>
                <c:pt idx="7">
                  <c:v>44133</c:v>
                </c:pt>
                <c:pt idx="8">
                  <c:v>44134</c:v>
                </c:pt>
                <c:pt idx="9">
                  <c:v>44135</c:v>
                </c:pt>
                <c:pt idx="10">
                  <c:v>44136</c:v>
                </c:pt>
                <c:pt idx="11">
                  <c:v>44137</c:v>
                </c:pt>
                <c:pt idx="12">
                  <c:v>44139</c:v>
                </c:pt>
                <c:pt idx="13">
                  <c:v>44140</c:v>
                </c:pt>
                <c:pt idx="14">
                  <c:v>44141</c:v>
                </c:pt>
                <c:pt idx="15">
                  <c:v>44142</c:v>
                </c:pt>
                <c:pt idx="16">
                  <c:v>44143</c:v>
                </c:pt>
                <c:pt idx="17">
                  <c:v>44144</c:v>
                </c:pt>
                <c:pt idx="18">
                  <c:v>44145</c:v>
                </c:pt>
                <c:pt idx="19">
                  <c:v>44146</c:v>
                </c:pt>
                <c:pt idx="20">
                  <c:v>44147</c:v>
                </c:pt>
                <c:pt idx="21">
                  <c:v>44148</c:v>
                </c:pt>
                <c:pt idx="22">
                  <c:v>44150</c:v>
                </c:pt>
                <c:pt idx="23">
                  <c:v>44151</c:v>
                </c:pt>
                <c:pt idx="24">
                  <c:v>44152</c:v>
                </c:pt>
                <c:pt idx="25">
                  <c:v>44153</c:v>
                </c:pt>
                <c:pt idx="26">
                  <c:v>44154</c:v>
                </c:pt>
                <c:pt idx="27">
                  <c:v>44155</c:v>
                </c:pt>
                <c:pt idx="28">
                  <c:v>44157</c:v>
                </c:pt>
                <c:pt idx="29">
                  <c:v>44158</c:v>
                </c:pt>
                <c:pt idx="30">
                  <c:v>44159</c:v>
                </c:pt>
                <c:pt idx="31">
                  <c:v>44160</c:v>
                </c:pt>
                <c:pt idx="32">
                  <c:v>44161</c:v>
                </c:pt>
                <c:pt idx="33">
                  <c:v>44162</c:v>
                </c:pt>
                <c:pt idx="34">
                  <c:v>44163</c:v>
                </c:pt>
                <c:pt idx="35">
                  <c:v>44164</c:v>
                </c:pt>
                <c:pt idx="36">
                  <c:v>44165</c:v>
                </c:pt>
                <c:pt idx="37">
                  <c:v>44166</c:v>
                </c:pt>
                <c:pt idx="38">
                  <c:v>44167</c:v>
                </c:pt>
                <c:pt idx="39">
                  <c:v>44168</c:v>
                </c:pt>
                <c:pt idx="40">
                  <c:v>44169</c:v>
                </c:pt>
                <c:pt idx="41">
                  <c:v>44172</c:v>
                </c:pt>
                <c:pt idx="42">
                  <c:v>44173</c:v>
                </c:pt>
                <c:pt idx="43">
                  <c:v>44174</c:v>
                </c:pt>
                <c:pt idx="44">
                  <c:v>44175</c:v>
                </c:pt>
                <c:pt idx="45">
                  <c:v>44176</c:v>
                </c:pt>
                <c:pt idx="46">
                  <c:v>44177</c:v>
                </c:pt>
                <c:pt idx="47">
                  <c:v>44178</c:v>
                </c:pt>
                <c:pt idx="48">
                  <c:v>44179</c:v>
                </c:pt>
                <c:pt idx="49">
                  <c:v>44180</c:v>
                </c:pt>
                <c:pt idx="50">
                  <c:v>44181</c:v>
                </c:pt>
                <c:pt idx="51">
                  <c:v>44182</c:v>
                </c:pt>
                <c:pt idx="52">
                  <c:v>44183</c:v>
                </c:pt>
                <c:pt idx="53">
                  <c:v>44184</c:v>
                </c:pt>
                <c:pt idx="54">
                  <c:v>44185</c:v>
                </c:pt>
                <c:pt idx="55">
                  <c:v>44186</c:v>
                </c:pt>
                <c:pt idx="56">
                  <c:v>44187</c:v>
                </c:pt>
                <c:pt idx="57">
                  <c:v>44188</c:v>
                </c:pt>
                <c:pt idx="58">
                  <c:v>44189</c:v>
                </c:pt>
                <c:pt idx="59">
                  <c:v>44190</c:v>
                </c:pt>
                <c:pt idx="60">
                  <c:v>44191</c:v>
                </c:pt>
                <c:pt idx="61">
                  <c:v>44192</c:v>
                </c:pt>
                <c:pt idx="62">
                  <c:v>44193</c:v>
                </c:pt>
                <c:pt idx="63">
                  <c:v>44194</c:v>
                </c:pt>
                <c:pt idx="64">
                  <c:v>44195</c:v>
                </c:pt>
                <c:pt idx="65">
                  <c:v>44196</c:v>
                </c:pt>
                <c:pt idx="66">
                  <c:v>44197</c:v>
                </c:pt>
                <c:pt idx="67">
                  <c:v>44198</c:v>
                </c:pt>
                <c:pt idx="68">
                  <c:v>44199</c:v>
                </c:pt>
                <c:pt idx="69">
                  <c:v>44200</c:v>
                </c:pt>
                <c:pt idx="70">
                  <c:v>44201</c:v>
                </c:pt>
                <c:pt idx="71">
                  <c:v>44202</c:v>
                </c:pt>
                <c:pt idx="72">
                  <c:v>44203</c:v>
                </c:pt>
                <c:pt idx="73">
                  <c:v>44204</c:v>
                </c:pt>
                <c:pt idx="74">
                  <c:v>44205</c:v>
                </c:pt>
                <c:pt idx="75">
                  <c:v>44206</c:v>
                </c:pt>
                <c:pt idx="76">
                  <c:v>44207</c:v>
                </c:pt>
                <c:pt idx="77">
                  <c:v>44209</c:v>
                </c:pt>
                <c:pt idx="78">
                  <c:v>44210</c:v>
                </c:pt>
                <c:pt idx="79">
                  <c:v>44211</c:v>
                </c:pt>
                <c:pt idx="80">
                  <c:v>44212</c:v>
                </c:pt>
                <c:pt idx="81">
                  <c:v>44213</c:v>
                </c:pt>
                <c:pt idx="82">
                  <c:v>44214</c:v>
                </c:pt>
                <c:pt idx="83">
                  <c:v>44215</c:v>
                </c:pt>
                <c:pt idx="84">
                  <c:v>44216</c:v>
                </c:pt>
                <c:pt idx="85">
                  <c:v>44217</c:v>
                </c:pt>
                <c:pt idx="86">
                  <c:v>44218</c:v>
                </c:pt>
                <c:pt idx="87">
                  <c:v>44219</c:v>
                </c:pt>
                <c:pt idx="88">
                  <c:v>44220</c:v>
                </c:pt>
                <c:pt idx="89">
                  <c:v>44221</c:v>
                </c:pt>
                <c:pt idx="90">
                  <c:v>44222</c:v>
                </c:pt>
                <c:pt idx="91">
                  <c:v>44223</c:v>
                </c:pt>
                <c:pt idx="92">
                  <c:v>44224</c:v>
                </c:pt>
                <c:pt idx="93">
                  <c:v>44225</c:v>
                </c:pt>
                <c:pt idx="94">
                  <c:v>44226</c:v>
                </c:pt>
                <c:pt idx="95">
                  <c:v>44227</c:v>
                </c:pt>
                <c:pt idx="96">
                  <c:v>44228</c:v>
                </c:pt>
                <c:pt idx="97">
                  <c:v>44229</c:v>
                </c:pt>
                <c:pt idx="98">
                  <c:v>44230</c:v>
                </c:pt>
                <c:pt idx="99">
                  <c:v>44232</c:v>
                </c:pt>
                <c:pt idx="100">
                  <c:v>44233</c:v>
                </c:pt>
                <c:pt idx="101">
                  <c:v>44234</c:v>
                </c:pt>
                <c:pt idx="102">
                  <c:v>44235</c:v>
                </c:pt>
                <c:pt idx="103">
                  <c:v>44236</c:v>
                </c:pt>
                <c:pt idx="104">
                  <c:v>44237</c:v>
                </c:pt>
                <c:pt idx="105">
                  <c:v>44240</c:v>
                </c:pt>
                <c:pt idx="106">
                  <c:v>44241</c:v>
                </c:pt>
                <c:pt idx="107">
                  <c:v>44242</c:v>
                </c:pt>
                <c:pt idx="108">
                  <c:v>44243</c:v>
                </c:pt>
                <c:pt idx="109">
                  <c:v>44244</c:v>
                </c:pt>
                <c:pt idx="110">
                  <c:v>44245</c:v>
                </c:pt>
                <c:pt idx="111">
                  <c:v>44246</c:v>
                </c:pt>
                <c:pt idx="112">
                  <c:v>44247</c:v>
                </c:pt>
                <c:pt idx="113">
                  <c:v>44248</c:v>
                </c:pt>
                <c:pt idx="114">
                  <c:v>44249</c:v>
                </c:pt>
                <c:pt idx="115">
                  <c:v>44250</c:v>
                </c:pt>
                <c:pt idx="116">
                  <c:v>44251</c:v>
                </c:pt>
                <c:pt idx="117">
                  <c:v>44252</c:v>
                </c:pt>
                <c:pt idx="118">
                  <c:v>44253</c:v>
                </c:pt>
                <c:pt idx="119">
                  <c:v>44254</c:v>
                </c:pt>
                <c:pt idx="120">
                  <c:v>44255</c:v>
                </c:pt>
                <c:pt idx="121">
                  <c:v>44256</c:v>
                </c:pt>
                <c:pt idx="122">
                  <c:v>44257</c:v>
                </c:pt>
                <c:pt idx="123">
                  <c:v>44258</c:v>
                </c:pt>
                <c:pt idx="124">
                  <c:v>44259</c:v>
                </c:pt>
                <c:pt idx="125">
                  <c:v>44260</c:v>
                </c:pt>
                <c:pt idx="126">
                  <c:v>44261</c:v>
                </c:pt>
                <c:pt idx="127">
                  <c:v>44262</c:v>
                </c:pt>
                <c:pt idx="128">
                  <c:v>44263</c:v>
                </c:pt>
                <c:pt idx="129">
                  <c:v>44264</c:v>
                </c:pt>
                <c:pt idx="130">
                  <c:v>44265</c:v>
                </c:pt>
                <c:pt idx="131">
                  <c:v>44266</c:v>
                </c:pt>
                <c:pt idx="132">
                  <c:v>44267</c:v>
                </c:pt>
                <c:pt idx="133">
                  <c:v>44268</c:v>
                </c:pt>
                <c:pt idx="134">
                  <c:v>44269</c:v>
                </c:pt>
                <c:pt idx="135">
                  <c:v>44270</c:v>
                </c:pt>
                <c:pt idx="136">
                  <c:v>44271</c:v>
                </c:pt>
                <c:pt idx="137">
                  <c:v>44272</c:v>
                </c:pt>
                <c:pt idx="138">
                  <c:v>44273</c:v>
                </c:pt>
                <c:pt idx="139">
                  <c:v>44274</c:v>
                </c:pt>
                <c:pt idx="140">
                  <c:v>44275</c:v>
                </c:pt>
                <c:pt idx="141">
                  <c:v>44276</c:v>
                </c:pt>
                <c:pt idx="142">
                  <c:v>44277</c:v>
                </c:pt>
                <c:pt idx="143">
                  <c:v>44278</c:v>
                </c:pt>
                <c:pt idx="144">
                  <c:v>44279</c:v>
                </c:pt>
                <c:pt idx="145">
                  <c:v>44280</c:v>
                </c:pt>
                <c:pt idx="146">
                  <c:v>44281</c:v>
                </c:pt>
                <c:pt idx="147">
                  <c:v>44282</c:v>
                </c:pt>
                <c:pt idx="148">
                  <c:v>44283</c:v>
                </c:pt>
                <c:pt idx="149">
                  <c:v>44284</c:v>
                </c:pt>
                <c:pt idx="150">
                  <c:v>44285</c:v>
                </c:pt>
                <c:pt idx="151">
                  <c:v>44286</c:v>
                </c:pt>
                <c:pt idx="152">
                  <c:v>44287</c:v>
                </c:pt>
                <c:pt idx="153">
                  <c:v>44288</c:v>
                </c:pt>
                <c:pt idx="154">
                  <c:v>44289</c:v>
                </c:pt>
                <c:pt idx="155">
                  <c:v>44290</c:v>
                </c:pt>
                <c:pt idx="156">
                  <c:v>44291</c:v>
                </c:pt>
                <c:pt idx="157">
                  <c:v>44292</c:v>
                </c:pt>
                <c:pt idx="158">
                  <c:v>44293</c:v>
                </c:pt>
                <c:pt idx="159">
                  <c:v>44294</c:v>
                </c:pt>
                <c:pt idx="160">
                  <c:v>44295</c:v>
                </c:pt>
                <c:pt idx="161">
                  <c:v>44296</c:v>
                </c:pt>
                <c:pt idx="162">
                  <c:v>44297</c:v>
                </c:pt>
                <c:pt idx="163">
                  <c:v>44298</c:v>
                </c:pt>
                <c:pt idx="164">
                  <c:v>44299</c:v>
                </c:pt>
                <c:pt idx="165">
                  <c:v>44300</c:v>
                </c:pt>
                <c:pt idx="166">
                  <c:v>44301</c:v>
                </c:pt>
                <c:pt idx="167">
                  <c:v>44302</c:v>
                </c:pt>
                <c:pt idx="168">
                  <c:v>44303</c:v>
                </c:pt>
                <c:pt idx="169">
                  <c:v>44304</c:v>
                </c:pt>
                <c:pt idx="170">
                  <c:v>44305</c:v>
                </c:pt>
                <c:pt idx="171">
                  <c:v>44306</c:v>
                </c:pt>
                <c:pt idx="172">
                  <c:v>44307</c:v>
                </c:pt>
                <c:pt idx="173">
                  <c:v>44308</c:v>
                </c:pt>
                <c:pt idx="174">
                  <c:v>44309</c:v>
                </c:pt>
                <c:pt idx="175">
                  <c:v>44310</c:v>
                </c:pt>
                <c:pt idx="176">
                  <c:v>44311</c:v>
                </c:pt>
                <c:pt idx="177">
                  <c:v>44312</c:v>
                </c:pt>
                <c:pt idx="178">
                  <c:v>44313</c:v>
                </c:pt>
                <c:pt idx="179">
                  <c:v>44314</c:v>
                </c:pt>
                <c:pt idx="180">
                  <c:v>44315</c:v>
                </c:pt>
                <c:pt idx="181">
                  <c:v>44316</c:v>
                </c:pt>
                <c:pt idx="182">
                  <c:v>44317</c:v>
                </c:pt>
                <c:pt idx="183">
                  <c:v>44318</c:v>
                </c:pt>
                <c:pt idx="184">
                  <c:v>44319</c:v>
                </c:pt>
                <c:pt idx="185">
                  <c:v>44320</c:v>
                </c:pt>
                <c:pt idx="186">
                  <c:v>44321</c:v>
                </c:pt>
                <c:pt idx="187">
                  <c:v>44322</c:v>
                </c:pt>
                <c:pt idx="188">
                  <c:v>44323</c:v>
                </c:pt>
                <c:pt idx="189">
                  <c:v>44324</c:v>
                </c:pt>
                <c:pt idx="190">
                  <c:v>44325</c:v>
                </c:pt>
                <c:pt idx="191">
                  <c:v>44326</c:v>
                </c:pt>
                <c:pt idx="192">
                  <c:v>44327</c:v>
                </c:pt>
                <c:pt idx="193">
                  <c:v>44328</c:v>
                </c:pt>
                <c:pt idx="194">
                  <c:v>44329</c:v>
                </c:pt>
                <c:pt idx="195">
                  <c:v>44330</c:v>
                </c:pt>
                <c:pt idx="196">
                  <c:v>44331</c:v>
                </c:pt>
                <c:pt idx="197">
                  <c:v>44332</c:v>
                </c:pt>
                <c:pt idx="198">
                  <c:v>44333</c:v>
                </c:pt>
                <c:pt idx="199">
                  <c:v>44334</c:v>
                </c:pt>
                <c:pt idx="200">
                  <c:v>44335</c:v>
                </c:pt>
                <c:pt idx="201">
                  <c:v>44336</c:v>
                </c:pt>
                <c:pt idx="202">
                  <c:v>44337</c:v>
                </c:pt>
                <c:pt idx="203">
                  <c:v>44338</c:v>
                </c:pt>
                <c:pt idx="204">
                  <c:v>44339</c:v>
                </c:pt>
                <c:pt idx="205">
                  <c:v>44340</c:v>
                </c:pt>
                <c:pt idx="206">
                  <c:v>44341</c:v>
                </c:pt>
                <c:pt idx="207">
                  <c:v>44342</c:v>
                </c:pt>
                <c:pt idx="208">
                  <c:v>44343</c:v>
                </c:pt>
                <c:pt idx="209">
                  <c:v>44344</c:v>
                </c:pt>
                <c:pt idx="210">
                  <c:v>44345</c:v>
                </c:pt>
                <c:pt idx="211">
                  <c:v>44346</c:v>
                </c:pt>
                <c:pt idx="212">
                  <c:v>44348</c:v>
                </c:pt>
                <c:pt idx="213">
                  <c:v>44354</c:v>
                </c:pt>
                <c:pt idx="214">
                  <c:v>44361</c:v>
                </c:pt>
                <c:pt idx="215">
                  <c:v>44368</c:v>
                </c:pt>
                <c:pt idx="216">
                  <c:v>44375</c:v>
                </c:pt>
                <c:pt idx="217">
                  <c:v>44389</c:v>
                </c:pt>
                <c:pt idx="218">
                  <c:v>44396</c:v>
                </c:pt>
                <c:pt idx="219">
                  <c:v>44403</c:v>
                </c:pt>
                <c:pt idx="220">
                  <c:v>44410</c:v>
                </c:pt>
                <c:pt idx="221">
                  <c:v>44454</c:v>
                </c:pt>
                <c:pt idx="222">
                  <c:v>44460</c:v>
                </c:pt>
                <c:pt idx="223">
                  <c:v>44474</c:v>
                </c:pt>
                <c:pt idx="224">
                  <c:v>44481</c:v>
                </c:pt>
                <c:pt idx="225">
                  <c:v>44488</c:v>
                </c:pt>
                <c:pt idx="226">
                  <c:v>44495</c:v>
                </c:pt>
                <c:pt idx="227">
                  <c:v>44502</c:v>
                </c:pt>
                <c:pt idx="228">
                  <c:v>44509</c:v>
                </c:pt>
                <c:pt idx="229">
                  <c:v>44516</c:v>
                </c:pt>
                <c:pt idx="230">
                  <c:v>44523</c:v>
                </c:pt>
              </c:numCache>
            </c:numRef>
          </c:xVal>
          <c:yVal>
            <c:numRef>
              <c:f>Tabulky!$E$8:$E$239</c:f>
              <c:numCache>
                <c:formatCode>General</c:formatCode>
                <c:ptCount val="232"/>
                <c:pt idx="0">
                  <c:v>61</c:v>
                </c:pt>
                <c:pt idx="1">
                  <c:v>84</c:v>
                </c:pt>
                <c:pt idx="2">
                  <c:v>100</c:v>
                </c:pt>
                <c:pt idx="3">
                  <c:v>103</c:v>
                </c:pt>
                <c:pt idx="4">
                  <c:v>104</c:v>
                </c:pt>
                <c:pt idx="5">
                  <c:v>127</c:v>
                </c:pt>
                <c:pt idx="6">
                  <c:v>145</c:v>
                </c:pt>
                <c:pt idx="7">
                  <c:v>145</c:v>
                </c:pt>
                <c:pt idx="8">
                  <c:v>184</c:v>
                </c:pt>
                <c:pt idx="9">
                  <c:v>185</c:v>
                </c:pt>
                <c:pt idx="10">
                  <c:v>199</c:v>
                </c:pt>
                <c:pt idx="11">
                  <c:v>221</c:v>
                </c:pt>
                <c:pt idx="12">
                  <c:v>244</c:v>
                </c:pt>
                <c:pt idx="13">
                  <c:v>276</c:v>
                </c:pt>
                <c:pt idx="14">
                  <c:v>282</c:v>
                </c:pt>
                <c:pt idx="15">
                  <c:v>299</c:v>
                </c:pt>
                <c:pt idx="16">
                  <c:v>310</c:v>
                </c:pt>
                <c:pt idx="17">
                  <c:v>308</c:v>
                </c:pt>
                <c:pt idx="18">
                  <c:v>300</c:v>
                </c:pt>
                <c:pt idx="19">
                  <c:v>304</c:v>
                </c:pt>
                <c:pt idx="20">
                  <c:v>309</c:v>
                </c:pt>
                <c:pt idx="21">
                  <c:v>319</c:v>
                </c:pt>
                <c:pt idx="22">
                  <c:v>319</c:v>
                </c:pt>
                <c:pt idx="23">
                  <c:v>312</c:v>
                </c:pt>
                <c:pt idx="24">
                  <c:v>331</c:v>
                </c:pt>
                <c:pt idx="25">
                  <c:v>330</c:v>
                </c:pt>
                <c:pt idx="26">
                  <c:v>362</c:v>
                </c:pt>
                <c:pt idx="27">
                  <c:v>347</c:v>
                </c:pt>
                <c:pt idx="28">
                  <c:v>351</c:v>
                </c:pt>
                <c:pt idx="29">
                  <c:v>365</c:v>
                </c:pt>
                <c:pt idx="30">
                  <c:v>380</c:v>
                </c:pt>
                <c:pt idx="31">
                  <c:v>355</c:v>
                </c:pt>
                <c:pt idx="32">
                  <c:v>355</c:v>
                </c:pt>
                <c:pt idx="33">
                  <c:v>360</c:v>
                </c:pt>
                <c:pt idx="34">
                  <c:v>374</c:v>
                </c:pt>
                <c:pt idx="35">
                  <c:v>379</c:v>
                </c:pt>
                <c:pt idx="36">
                  <c:v>373</c:v>
                </c:pt>
                <c:pt idx="37">
                  <c:v>359</c:v>
                </c:pt>
                <c:pt idx="38">
                  <c:v>250</c:v>
                </c:pt>
                <c:pt idx="39">
                  <c:v>237</c:v>
                </c:pt>
                <c:pt idx="40">
                  <c:v>247</c:v>
                </c:pt>
                <c:pt idx="41">
                  <c:v>262</c:v>
                </c:pt>
                <c:pt idx="42">
                  <c:v>251</c:v>
                </c:pt>
                <c:pt idx="43">
                  <c:v>254</c:v>
                </c:pt>
                <c:pt idx="44">
                  <c:v>264</c:v>
                </c:pt>
                <c:pt idx="45">
                  <c:v>236</c:v>
                </c:pt>
                <c:pt idx="46">
                  <c:v>242</c:v>
                </c:pt>
                <c:pt idx="47">
                  <c:v>243</c:v>
                </c:pt>
                <c:pt idx="48">
                  <c:v>249</c:v>
                </c:pt>
                <c:pt idx="49">
                  <c:v>252</c:v>
                </c:pt>
                <c:pt idx="50">
                  <c:v>212</c:v>
                </c:pt>
                <c:pt idx="51">
                  <c:v>210</c:v>
                </c:pt>
                <c:pt idx="52">
                  <c:v>202</c:v>
                </c:pt>
                <c:pt idx="53">
                  <c:v>255</c:v>
                </c:pt>
                <c:pt idx="54">
                  <c:v>263</c:v>
                </c:pt>
                <c:pt idx="55">
                  <c:v>254</c:v>
                </c:pt>
                <c:pt idx="56">
                  <c:v>239</c:v>
                </c:pt>
                <c:pt idx="57">
                  <c:v>236</c:v>
                </c:pt>
                <c:pt idx="58">
                  <c:v>239</c:v>
                </c:pt>
                <c:pt idx="59">
                  <c:v>239</c:v>
                </c:pt>
                <c:pt idx="60">
                  <c:v>295</c:v>
                </c:pt>
                <c:pt idx="61">
                  <c:v>299</c:v>
                </c:pt>
                <c:pt idx="62">
                  <c:v>293</c:v>
                </c:pt>
                <c:pt idx="63">
                  <c:v>241</c:v>
                </c:pt>
                <c:pt idx="64">
                  <c:v>264</c:v>
                </c:pt>
                <c:pt idx="65">
                  <c:v>260</c:v>
                </c:pt>
                <c:pt idx="66">
                  <c:v>261</c:v>
                </c:pt>
                <c:pt idx="67">
                  <c:v>267</c:v>
                </c:pt>
                <c:pt idx="68">
                  <c:v>268</c:v>
                </c:pt>
                <c:pt idx="69">
                  <c:v>280</c:v>
                </c:pt>
                <c:pt idx="70">
                  <c:v>280</c:v>
                </c:pt>
                <c:pt idx="71">
                  <c:v>262</c:v>
                </c:pt>
                <c:pt idx="72">
                  <c:v>264</c:v>
                </c:pt>
                <c:pt idx="73">
                  <c:v>264</c:v>
                </c:pt>
                <c:pt idx="74">
                  <c:v>260</c:v>
                </c:pt>
                <c:pt idx="75">
                  <c:v>270</c:v>
                </c:pt>
                <c:pt idx="76">
                  <c:v>268</c:v>
                </c:pt>
                <c:pt idx="77">
                  <c:v>268</c:v>
                </c:pt>
                <c:pt idx="78">
                  <c:v>275</c:v>
                </c:pt>
                <c:pt idx="79">
                  <c:v>272</c:v>
                </c:pt>
                <c:pt idx="80">
                  <c:v>272</c:v>
                </c:pt>
                <c:pt idx="81">
                  <c:v>274</c:v>
                </c:pt>
                <c:pt idx="82">
                  <c:v>274</c:v>
                </c:pt>
                <c:pt idx="83">
                  <c:v>210</c:v>
                </c:pt>
                <c:pt idx="84">
                  <c:v>201</c:v>
                </c:pt>
                <c:pt idx="85">
                  <c:v>187</c:v>
                </c:pt>
                <c:pt idx="86">
                  <c:v>180</c:v>
                </c:pt>
                <c:pt idx="87">
                  <c:v>177</c:v>
                </c:pt>
                <c:pt idx="88">
                  <c:v>177</c:v>
                </c:pt>
                <c:pt idx="89">
                  <c:v>177</c:v>
                </c:pt>
                <c:pt idx="90">
                  <c:v>157</c:v>
                </c:pt>
                <c:pt idx="91">
                  <c:v>155</c:v>
                </c:pt>
                <c:pt idx="92">
                  <c:v>154</c:v>
                </c:pt>
                <c:pt idx="93">
                  <c:v>46</c:v>
                </c:pt>
                <c:pt idx="94">
                  <c:v>46</c:v>
                </c:pt>
                <c:pt idx="95">
                  <c:v>44</c:v>
                </c:pt>
                <c:pt idx="96">
                  <c:v>34</c:v>
                </c:pt>
                <c:pt idx="97">
                  <c:v>31</c:v>
                </c:pt>
                <c:pt idx="98">
                  <c:v>31</c:v>
                </c:pt>
                <c:pt idx="99">
                  <c:v>30</c:v>
                </c:pt>
                <c:pt idx="100">
                  <c:v>32</c:v>
                </c:pt>
                <c:pt idx="101">
                  <c:v>32</c:v>
                </c:pt>
                <c:pt idx="102">
                  <c:v>33</c:v>
                </c:pt>
                <c:pt idx="103">
                  <c:v>22</c:v>
                </c:pt>
                <c:pt idx="104">
                  <c:v>18</c:v>
                </c:pt>
                <c:pt idx="105">
                  <c:v>17</c:v>
                </c:pt>
                <c:pt idx="106">
                  <c:v>17</c:v>
                </c:pt>
                <c:pt idx="107">
                  <c:v>17</c:v>
                </c:pt>
                <c:pt idx="108">
                  <c:v>18</c:v>
                </c:pt>
                <c:pt idx="109">
                  <c:v>17</c:v>
                </c:pt>
                <c:pt idx="110">
                  <c:v>13</c:v>
                </c:pt>
                <c:pt idx="111">
                  <c:v>14</c:v>
                </c:pt>
                <c:pt idx="112">
                  <c:v>14</c:v>
                </c:pt>
                <c:pt idx="113">
                  <c:v>14</c:v>
                </c:pt>
                <c:pt idx="114">
                  <c:v>15</c:v>
                </c:pt>
                <c:pt idx="115">
                  <c:v>15</c:v>
                </c:pt>
                <c:pt idx="116">
                  <c:v>17</c:v>
                </c:pt>
                <c:pt idx="117">
                  <c:v>17</c:v>
                </c:pt>
                <c:pt idx="118">
                  <c:v>16</c:v>
                </c:pt>
                <c:pt idx="119">
                  <c:v>16</c:v>
                </c:pt>
                <c:pt idx="120">
                  <c:v>16</c:v>
                </c:pt>
                <c:pt idx="121">
                  <c:v>15</c:v>
                </c:pt>
                <c:pt idx="122">
                  <c:v>15</c:v>
                </c:pt>
                <c:pt idx="123">
                  <c:v>15</c:v>
                </c:pt>
                <c:pt idx="124">
                  <c:v>15</c:v>
                </c:pt>
                <c:pt idx="125">
                  <c:v>16</c:v>
                </c:pt>
                <c:pt idx="126">
                  <c:v>15</c:v>
                </c:pt>
                <c:pt idx="127">
                  <c:v>15</c:v>
                </c:pt>
                <c:pt idx="128">
                  <c:v>16</c:v>
                </c:pt>
                <c:pt idx="129">
                  <c:v>15</c:v>
                </c:pt>
                <c:pt idx="130">
                  <c:v>15</c:v>
                </c:pt>
                <c:pt idx="131">
                  <c:v>16</c:v>
                </c:pt>
                <c:pt idx="132">
                  <c:v>22</c:v>
                </c:pt>
                <c:pt idx="133">
                  <c:v>22</c:v>
                </c:pt>
                <c:pt idx="134">
                  <c:v>22</c:v>
                </c:pt>
                <c:pt idx="135">
                  <c:v>21</c:v>
                </c:pt>
                <c:pt idx="136">
                  <c:v>23</c:v>
                </c:pt>
                <c:pt idx="137">
                  <c:v>21</c:v>
                </c:pt>
                <c:pt idx="138">
                  <c:v>21</c:v>
                </c:pt>
                <c:pt idx="139">
                  <c:v>21</c:v>
                </c:pt>
                <c:pt idx="140">
                  <c:v>21</c:v>
                </c:pt>
                <c:pt idx="141">
                  <c:v>21</c:v>
                </c:pt>
                <c:pt idx="142">
                  <c:v>20</c:v>
                </c:pt>
                <c:pt idx="143">
                  <c:v>21</c:v>
                </c:pt>
                <c:pt idx="144">
                  <c:v>14</c:v>
                </c:pt>
                <c:pt idx="145">
                  <c:v>14</c:v>
                </c:pt>
                <c:pt idx="146">
                  <c:v>14</c:v>
                </c:pt>
                <c:pt idx="147">
                  <c:v>14</c:v>
                </c:pt>
                <c:pt idx="148">
                  <c:v>14</c:v>
                </c:pt>
                <c:pt idx="149">
                  <c:v>13</c:v>
                </c:pt>
                <c:pt idx="150">
                  <c:v>13</c:v>
                </c:pt>
                <c:pt idx="151">
                  <c:v>13</c:v>
                </c:pt>
                <c:pt idx="152">
                  <c:v>13</c:v>
                </c:pt>
                <c:pt idx="153">
                  <c:v>13</c:v>
                </c:pt>
                <c:pt idx="154">
                  <c:v>13</c:v>
                </c:pt>
                <c:pt idx="155">
                  <c:v>13</c:v>
                </c:pt>
                <c:pt idx="156">
                  <c:v>13</c:v>
                </c:pt>
                <c:pt idx="157">
                  <c:v>13</c:v>
                </c:pt>
                <c:pt idx="158">
                  <c:v>13</c:v>
                </c:pt>
                <c:pt idx="159">
                  <c:v>12</c:v>
                </c:pt>
                <c:pt idx="160">
                  <c:v>12</c:v>
                </c:pt>
                <c:pt idx="161">
                  <c:v>12</c:v>
                </c:pt>
                <c:pt idx="162">
                  <c:v>12</c:v>
                </c:pt>
                <c:pt idx="163">
                  <c:v>12</c:v>
                </c:pt>
                <c:pt idx="164">
                  <c:v>12</c:v>
                </c:pt>
                <c:pt idx="165">
                  <c:v>14</c:v>
                </c:pt>
                <c:pt idx="166">
                  <c:v>14</c:v>
                </c:pt>
                <c:pt idx="167">
                  <c:v>15</c:v>
                </c:pt>
                <c:pt idx="168">
                  <c:v>16</c:v>
                </c:pt>
                <c:pt idx="169">
                  <c:v>16</c:v>
                </c:pt>
                <c:pt idx="170">
                  <c:v>19</c:v>
                </c:pt>
                <c:pt idx="171">
                  <c:v>19</c:v>
                </c:pt>
                <c:pt idx="172">
                  <c:v>19</c:v>
                </c:pt>
                <c:pt idx="173">
                  <c:v>22</c:v>
                </c:pt>
                <c:pt idx="174">
                  <c:v>21</c:v>
                </c:pt>
                <c:pt idx="175">
                  <c:v>21</c:v>
                </c:pt>
                <c:pt idx="176">
                  <c:v>21</c:v>
                </c:pt>
                <c:pt idx="177">
                  <c:v>17</c:v>
                </c:pt>
                <c:pt idx="178">
                  <c:v>17</c:v>
                </c:pt>
                <c:pt idx="179">
                  <c:v>16</c:v>
                </c:pt>
                <c:pt idx="180">
                  <c:v>17</c:v>
                </c:pt>
                <c:pt idx="181">
                  <c:v>18</c:v>
                </c:pt>
                <c:pt idx="182">
                  <c:v>18</c:v>
                </c:pt>
                <c:pt idx="183">
                  <c:v>17</c:v>
                </c:pt>
                <c:pt idx="184">
                  <c:v>17</c:v>
                </c:pt>
                <c:pt idx="185">
                  <c:v>16</c:v>
                </c:pt>
                <c:pt idx="186">
                  <c:v>14</c:v>
                </c:pt>
                <c:pt idx="187">
                  <c:v>14</c:v>
                </c:pt>
                <c:pt idx="188">
                  <c:v>14</c:v>
                </c:pt>
                <c:pt idx="189">
                  <c:v>14</c:v>
                </c:pt>
                <c:pt idx="190">
                  <c:v>14</c:v>
                </c:pt>
                <c:pt idx="191">
                  <c:v>19</c:v>
                </c:pt>
                <c:pt idx="192">
                  <c:v>18</c:v>
                </c:pt>
                <c:pt idx="193">
                  <c:v>18</c:v>
                </c:pt>
                <c:pt idx="194">
                  <c:v>17</c:v>
                </c:pt>
                <c:pt idx="195">
                  <c:v>18</c:v>
                </c:pt>
                <c:pt idx="196">
                  <c:v>18</c:v>
                </c:pt>
                <c:pt idx="197">
                  <c:v>18</c:v>
                </c:pt>
                <c:pt idx="198">
                  <c:v>18</c:v>
                </c:pt>
                <c:pt idx="199">
                  <c:v>18</c:v>
                </c:pt>
                <c:pt idx="200">
                  <c:v>19</c:v>
                </c:pt>
                <c:pt idx="201">
                  <c:v>19</c:v>
                </c:pt>
                <c:pt idx="202">
                  <c:v>19</c:v>
                </c:pt>
                <c:pt idx="203">
                  <c:v>19</c:v>
                </c:pt>
                <c:pt idx="204">
                  <c:v>19</c:v>
                </c:pt>
                <c:pt idx="205">
                  <c:v>19</c:v>
                </c:pt>
                <c:pt idx="206">
                  <c:v>20</c:v>
                </c:pt>
                <c:pt idx="207">
                  <c:v>17</c:v>
                </c:pt>
                <c:pt idx="208">
                  <c:v>17</c:v>
                </c:pt>
                <c:pt idx="209">
                  <c:v>17</c:v>
                </c:pt>
                <c:pt idx="210">
                  <c:v>17</c:v>
                </c:pt>
                <c:pt idx="211">
                  <c:v>17</c:v>
                </c:pt>
                <c:pt idx="212">
                  <c:v>17</c:v>
                </c:pt>
                <c:pt idx="213">
                  <c:v>14</c:v>
                </c:pt>
                <c:pt idx="214">
                  <c:v>14</c:v>
                </c:pt>
                <c:pt idx="215">
                  <c:v>12</c:v>
                </c:pt>
                <c:pt idx="216">
                  <c:v>6</c:v>
                </c:pt>
                <c:pt idx="217">
                  <c:v>4</c:v>
                </c:pt>
                <c:pt idx="218">
                  <c:v>3</c:v>
                </c:pt>
                <c:pt idx="219">
                  <c:v>3</c:v>
                </c:pt>
                <c:pt idx="220">
                  <c:v>3</c:v>
                </c:pt>
                <c:pt idx="221">
                  <c:v>17</c:v>
                </c:pt>
                <c:pt idx="222">
                  <c:v>14</c:v>
                </c:pt>
                <c:pt idx="223">
                  <c:v>2</c:v>
                </c:pt>
                <c:pt idx="224">
                  <c:v>13</c:v>
                </c:pt>
                <c:pt idx="225">
                  <c:v>11</c:v>
                </c:pt>
                <c:pt idx="226">
                  <c:v>1</c:v>
                </c:pt>
                <c:pt idx="227">
                  <c:v>6</c:v>
                </c:pt>
                <c:pt idx="228">
                  <c:v>17</c:v>
                </c:pt>
                <c:pt idx="229">
                  <c:v>19</c:v>
                </c:pt>
                <c:pt idx="230">
                  <c:v>4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B4B8-4BAD-B6F2-2E2A69C4DC8A}"/>
            </c:ext>
          </c:extLst>
        </c:ser>
        <c:ser>
          <c:idx val="2"/>
          <c:order val="2"/>
          <c:tx>
            <c:strRef>
              <c:f>Tabulky!$F$6</c:f>
              <c:strCache>
                <c:ptCount val="1"/>
                <c:pt idx="0">
                  <c:v>Pracovníci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Tabulky!$A$8:$A$239</c:f>
              <c:numCache>
                <c:formatCode>m/d/yyyy</c:formatCode>
                <c:ptCount val="232"/>
                <c:pt idx="0">
                  <c:v>44126</c:v>
                </c:pt>
                <c:pt idx="1">
                  <c:v>44127</c:v>
                </c:pt>
                <c:pt idx="2">
                  <c:v>44128</c:v>
                </c:pt>
                <c:pt idx="3">
                  <c:v>44129</c:v>
                </c:pt>
                <c:pt idx="4">
                  <c:v>44130</c:v>
                </c:pt>
                <c:pt idx="5">
                  <c:v>44131</c:v>
                </c:pt>
                <c:pt idx="6">
                  <c:v>44132</c:v>
                </c:pt>
                <c:pt idx="7">
                  <c:v>44133</c:v>
                </c:pt>
                <c:pt idx="8">
                  <c:v>44134</c:v>
                </c:pt>
                <c:pt idx="9">
                  <c:v>44135</c:v>
                </c:pt>
                <c:pt idx="10">
                  <c:v>44136</c:v>
                </c:pt>
                <c:pt idx="11">
                  <c:v>44137</c:v>
                </c:pt>
                <c:pt idx="12">
                  <c:v>44139</c:v>
                </c:pt>
                <c:pt idx="13">
                  <c:v>44140</c:v>
                </c:pt>
                <c:pt idx="14">
                  <c:v>44141</c:v>
                </c:pt>
                <c:pt idx="15">
                  <c:v>44142</c:v>
                </c:pt>
                <c:pt idx="16">
                  <c:v>44143</c:v>
                </c:pt>
                <c:pt idx="17">
                  <c:v>44144</c:v>
                </c:pt>
                <c:pt idx="18">
                  <c:v>44145</c:v>
                </c:pt>
                <c:pt idx="19">
                  <c:v>44146</c:v>
                </c:pt>
                <c:pt idx="20">
                  <c:v>44147</c:v>
                </c:pt>
                <c:pt idx="21">
                  <c:v>44148</c:v>
                </c:pt>
                <c:pt idx="22">
                  <c:v>44150</c:v>
                </c:pt>
                <c:pt idx="23">
                  <c:v>44151</c:v>
                </c:pt>
                <c:pt idx="24">
                  <c:v>44152</c:v>
                </c:pt>
                <c:pt idx="25">
                  <c:v>44153</c:v>
                </c:pt>
                <c:pt idx="26">
                  <c:v>44154</c:v>
                </c:pt>
                <c:pt idx="27">
                  <c:v>44155</c:v>
                </c:pt>
                <c:pt idx="28">
                  <c:v>44157</c:v>
                </c:pt>
                <c:pt idx="29">
                  <c:v>44158</c:v>
                </c:pt>
                <c:pt idx="30">
                  <c:v>44159</c:v>
                </c:pt>
                <c:pt idx="31">
                  <c:v>44160</c:v>
                </c:pt>
                <c:pt idx="32">
                  <c:v>44161</c:v>
                </c:pt>
                <c:pt idx="33">
                  <c:v>44162</c:v>
                </c:pt>
                <c:pt idx="34">
                  <c:v>44163</c:v>
                </c:pt>
                <c:pt idx="35">
                  <c:v>44164</c:v>
                </c:pt>
                <c:pt idx="36">
                  <c:v>44165</c:v>
                </c:pt>
                <c:pt idx="37">
                  <c:v>44166</c:v>
                </c:pt>
                <c:pt idx="38">
                  <c:v>44167</c:v>
                </c:pt>
                <c:pt idx="39">
                  <c:v>44168</c:v>
                </c:pt>
                <c:pt idx="40">
                  <c:v>44169</c:v>
                </c:pt>
                <c:pt idx="41">
                  <c:v>44172</c:v>
                </c:pt>
                <c:pt idx="42">
                  <c:v>44173</c:v>
                </c:pt>
                <c:pt idx="43">
                  <c:v>44174</c:v>
                </c:pt>
                <c:pt idx="44">
                  <c:v>44175</c:v>
                </c:pt>
                <c:pt idx="45">
                  <c:v>44176</c:v>
                </c:pt>
                <c:pt idx="46">
                  <c:v>44177</c:v>
                </c:pt>
                <c:pt idx="47">
                  <c:v>44178</c:v>
                </c:pt>
                <c:pt idx="48">
                  <c:v>44179</c:v>
                </c:pt>
                <c:pt idx="49">
                  <c:v>44180</c:v>
                </c:pt>
                <c:pt idx="50">
                  <c:v>44181</c:v>
                </c:pt>
                <c:pt idx="51">
                  <c:v>44182</c:v>
                </c:pt>
                <c:pt idx="52">
                  <c:v>44183</c:v>
                </c:pt>
                <c:pt idx="53">
                  <c:v>44184</c:v>
                </c:pt>
                <c:pt idx="54">
                  <c:v>44185</c:v>
                </c:pt>
                <c:pt idx="55">
                  <c:v>44186</c:v>
                </c:pt>
                <c:pt idx="56">
                  <c:v>44187</c:v>
                </c:pt>
                <c:pt idx="57">
                  <c:v>44188</c:v>
                </c:pt>
                <c:pt idx="58">
                  <c:v>44189</c:v>
                </c:pt>
                <c:pt idx="59">
                  <c:v>44190</c:v>
                </c:pt>
                <c:pt idx="60">
                  <c:v>44191</c:v>
                </c:pt>
                <c:pt idx="61">
                  <c:v>44192</c:v>
                </c:pt>
                <c:pt idx="62">
                  <c:v>44193</c:v>
                </c:pt>
                <c:pt idx="63">
                  <c:v>44194</c:v>
                </c:pt>
                <c:pt idx="64">
                  <c:v>44195</c:v>
                </c:pt>
                <c:pt idx="65">
                  <c:v>44196</c:v>
                </c:pt>
                <c:pt idx="66">
                  <c:v>44197</c:v>
                </c:pt>
                <c:pt idx="67">
                  <c:v>44198</c:v>
                </c:pt>
                <c:pt idx="68">
                  <c:v>44199</c:v>
                </c:pt>
                <c:pt idx="69">
                  <c:v>44200</c:v>
                </c:pt>
                <c:pt idx="70">
                  <c:v>44201</c:v>
                </c:pt>
                <c:pt idx="71">
                  <c:v>44202</c:v>
                </c:pt>
                <c:pt idx="72">
                  <c:v>44203</c:v>
                </c:pt>
                <c:pt idx="73">
                  <c:v>44204</c:v>
                </c:pt>
                <c:pt idx="74">
                  <c:v>44205</c:v>
                </c:pt>
                <c:pt idx="75">
                  <c:v>44206</c:v>
                </c:pt>
                <c:pt idx="76">
                  <c:v>44207</c:v>
                </c:pt>
                <c:pt idx="77">
                  <c:v>44209</c:v>
                </c:pt>
                <c:pt idx="78">
                  <c:v>44210</c:v>
                </c:pt>
                <c:pt idx="79">
                  <c:v>44211</c:v>
                </c:pt>
                <c:pt idx="80">
                  <c:v>44212</c:v>
                </c:pt>
                <c:pt idx="81">
                  <c:v>44213</c:v>
                </c:pt>
                <c:pt idx="82">
                  <c:v>44214</c:v>
                </c:pt>
                <c:pt idx="83">
                  <c:v>44215</c:v>
                </c:pt>
                <c:pt idx="84">
                  <c:v>44216</c:v>
                </c:pt>
                <c:pt idx="85">
                  <c:v>44217</c:v>
                </c:pt>
                <c:pt idx="86">
                  <c:v>44218</c:v>
                </c:pt>
                <c:pt idx="87">
                  <c:v>44219</c:v>
                </c:pt>
                <c:pt idx="88">
                  <c:v>44220</c:v>
                </c:pt>
                <c:pt idx="89">
                  <c:v>44221</c:v>
                </c:pt>
                <c:pt idx="90">
                  <c:v>44222</c:v>
                </c:pt>
                <c:pt idx="91">
                  <c:v>44223</c:v>
                </c:pt>
                <c:pt idx="92">
                  <c:v>44224</c:v>
                </c:pt>
                <c:pt idx="93">
                  <c:v>44225</c:v>
                </c:pt>
                <c:pt idx="94">
                  <c:v>44226</c:v>
                </c:pt>
                <c:pt idx="95">
                  <c:v>44227</c:v>
                </c:pt>
                <c:pt idx="96">
                  <c:v>44228</c:v>
                </c:pt>
                <c:pt idx="97">
                  <c:v>44229</c:v>
                </c:pt>
                <c:pt idx="98">
                  <c:v>44230</c:v>
                </c:pt>
                <c:pt idx="99">
                  <c:v>44232</c:v>
                </c:pt>
                <c:pt idx="100">
                  <c:v>44233</c:v>
                </c:pt>
                <c:pt idx="101">
                  <c:v>44234</c:v>
                </c:pt>
                <c:pt idx="102">
                  <c:v>44235</c:v>
                </c:pt>
                <c:pt idx="103">
                  <c:v>44236</c:v>
                </c:pt>
                <c:pt idx="104">
                  <c:v>44237</c:v>
                </c:pt>
                <c:pt idx="105">
                  <c:v>44240</c:v>
                </c:pt>
                <c:pt idx="106">
                  <c:v>44241</c:v>
                </c:pt>
                <c:pt idx="107">
                  <c:v>44242</c:v>
                </c:pt>
                <c:pt idx="108">
                  <c:v>44243</c:v>
                </c:pt>
                <c:pt idx="109">
                  <c:v>44244</c:v>
                </c:pt>
                <c:pt idx="110">
                  <c:v>44245</c:v>
                </c:pt>
                <c:pt idx="111">
                  <c:v>44246</c:v>
                </c:pt>
                <c:pt idx="112">
                  <c:v>44247</c:v>
                </c:pt>
                <c:pt idx="113">
                  <c:v>44248</c:v>
                </c:pt>
                <c:pt idx="114">
                  <c:v>44249</c:v>
                </c:pt>
                <c:pt idx="115">
                  <c:v>44250</c:v>
                </c:pt>
                <c:pt idx="116">
                  <c:v>44251</c:v>
                </c:pt>
                <c:pt idx="117">
                  <c:v>44252</c:v>
                </c:pt>
                <c:pt idx="118">
                  <c:v>44253</c:v>
                </c:pt>
                <c:pt idx="119">
                  <c:v>44254</c:v>
                </c:pt>
                <c:pt idx="120">
                  <c:v>44255</c:v>
                </c:pt>
                <c:pt idx="121">
                  <c:v>44256</c:v>
                </c:pt>
                <c:pt idx="122">
                  <c:v>44257</c:v>
                </c:pt>
                <c:pt idx="123">
                  <c:v>44258</c:v>
                </c:pt>
                <c:pt idx="124">
                  <c:v>44259</c:v>
                </c:pt>
                <c:pt idx="125">
                  <c:v>44260</c:v>
                </c:pt>
                <c:pt idx="126">
                  <c:v>44261</c:v>
                </c:pt>
                <c:pt idx="127">
                  <c:v>44262</c:v>
                </c:pt>
                <c:pt idx="128">
                  <c:v>44263</c:v>
                </c:pt>
                <c:pt idx="129">
                  <c:v>44264</c:v>
                </c:pt>
                <c:pt idx="130">
                  <c:v>44265</c:v>
                </c:pt>
                <c:pt idx="131">
                  <c:v>44266</c:v>
                </c:pt>
                <c:pt idx="132">
                  <c:v>44267</c:v>
                </c:pt>
                <c:pt idx="133">
                  <c:v>44268</c:v>
                </c:pt>
                <c:pt idx="134">
                  <c:v>44269</c:v>
                </c:pt>
                <c:pt idx="135">
                  <c:v>44270</c:v>
                </c:pt>
                <c:pt idx="136">
                  <c:v>44271</c:v>
                </c:pt>
                <c:pt idx="137">
                  <c:v>44272</c:v>
                </c:pt>
                <c:pt idx="138">
                  <c:v>44273</c:v>
                </c:pt>
                <c:pt idx="139">
                  <c:v>44274</c:v>
                </c:pt>
                <c:pt idx="140">
                  <c:v>44275</c:v>
                </c:pt>
                <c:pt idx="141">
                  <c:v>44276</c:v>
                </c:pt>
                <c:pt idx="142">
                  <c:v>44277</c:v>
                </c:pt>
                <c:pt idx="143">
                  <c:v>44278</c:v>
                </c:pt>
                <c:pt idx="144">
                  <c:v>44279</c:v>
                </c:pt>
                <c:pt idx="145">
                  <c:v>44280</c:v>
                </c:pt>
                <c:pt idx="146">
                  <c:v>44281</c:v>
                </c:pt>
                <c:pt idx="147">
                  <c:v>44282</c:v>
                </c:pt>
                <c:pt idx="148">
                  <c:v>44283</c:v>
                </c:pt>
                <c:pt idx="149">
                  <c:v>44284</c:v>
                </c:pt>
                <c:pt idx="150">
                  <c:v>44285</c:v>
                </c:pt>
                <c:pt idx="151">
                  <c:v>44286</c:v>
                </c:pt>
                <c:pt idx="152">
                  <c:v>44287</c:v>
                </c:pt>
                <c:pt idx="153">
                  <c:v>44288</c:v>
                </c:pt>
                <c:pt idx="154">
                  <c:v>44289</c:v>
                </c:pt>
                <c:pt idx="155">
                  <c:v>44290</c:v>
                </c:pt>
                <c:pt idx="156">
                  <c:v>44291</c:v>
                </c:pt>
                <c:pt idx="157">
                  <c:v>44292</c:v>
                </c:pt>
                <c:pt idx="158">
                  <c:v>44293</c:v>
                </c:pt>
                <c:pt idx="159">
                  <c:v>44294</c:v>
                </c:pt>
                <c:pt idx="160">
                  <c:v>44295</c:v>
                </c:pt>
                <c:pt idx="161">
                  <c:v>44296</c:v>
                </c:pt>
                <c:pt idx="162">
                  <c:v>44297</c:v>
                </c:pt>
                <c:pt idx="163">
                  <c:v>44298</c:v>
                </c:pt>
                <c:pt idx="164">
                  <c:v>44299</c:v>
                </c:pt>
                <c:pt idx="165">
                  <c:v>44300</c:v>
                </c:pt>
                <c:pt idx="166">
                  <c:v>44301</c:v>
                </c:pt>
                <c:pt idx="167">
                  <c:v>44302</c:v>
                </c:pt>
                <c:pt idx="168">
                  <c:v>44303</c:v>
                </c:pt>
                <c:pt idx="169">
                  <c:v>44304</c:v>
                </c:pt>
                <c:pt idx="170">
                  <c:v>44305</c:v>
                </c:pt>
                <c:pt idx="171">
                  <c:v>44306</c:v>
                </c:pt>
                <c:pt idx="172">
                  <c:v>44307</c:v>
                </c:pt>
                <c:pt idx="173">
                  <c:v>44308</c:v>
                </c:pt>
                <c:pt idx="174">
                  <c:v>44309</c:v>
                </c:pt>
                <c:pt idx="175">
                  <c:v>44310</c:v>
                </c:pt>
                <c:pt idx="176">
                  <c:v>44311</c:v>
                </c:pt>
                <c:pt idx="177">
                  <c:v>44312</c:v>
                </c:pt>
                <c:pt idx="178">
                  <c:v>44313</c:v>
                </c:pt>
                <c:pt idx="179">
                  <c:v>44314</c:v>
                </c:pt>
                <c:pt idx="180">
                  <c:v>44315</c:v>
                </c:pt>
                <c:pt idx="181">
                  <c:v>44316</c:v>
                </c:pt>
                <c:pt idx="182">
                  <c:v>44317</c:v>
                </c:pt>
                <c:pt idx="183">
                  <c:v>44318</c:v>
                </c:pt>
                <c:pt idx="184">
                  <c:v>44319</c:v>
                </c:pt>
                <c:pt idx="185">
                  <c:v>44320</c:v>
                </c:pt>
                <c:pt idx="186">
                  <c:v>44321</c:v>
                </c:pt>
                <c:pt idx="187">
                  <c:v>44322</c:v>
                </c:pt>
                <c:pt idx="188">
                  <c:v>44323</c:v>
                </c:pt>
                <c:pt idx="189">
                  <c:v>44324</c:v>
                </c:pt>
                <c:pt idx="190">
                  <c:v>44325</c:v>
                </c:pt>
                <c:pt idx="191">
                  <c:v>44326</c:v>
                </c:pt>
                <c:pt idx="192">
                  <c:v>44327</c:v>
                </c:pt>
                <c:pt idx="193">
                  <c:v>44328</c:v>
                </c:pt>
                <c:pt idx="194">
                  <c:v>44329</c:v>
                </c:pt>
                <c:pt idx="195">
                  <c:v>44330</c:v>
                </c:pt>
                <c:pt idx="196">
                  <c:v>44331</c:v>
                </c:pt>
                <c:pt idx="197">
                  <c:v>44332</c:v>
                </c:pt>
                <c:pt idx="198">
                  <c:v>44333</c:v>
                </c:pt>
                <c:pt idx="199">
                  <c:v>44334</c:v>
                </c:pt>
                <c:pt idx="200">
                  <c:v>44335</c:v>
                </c:pt>
                <c:pt idx="201">
                  <c:v>44336</c:v>
                </c:pt>
                <c:pt idx="202">
                  <c:v>44337</c:v>
                </c:pt>
                <c:pt idx="203">
                  <c:v>44338</c:v>
                </c:pt>
                <c:pt idx="204">
                  <c:v>44339</c:v>
                </c:pt>
                <c:pt idx="205">
                  <c:v>44340</c:v>
                </c:pt>
                <c:pt idx="206">
                  <c:v>44341</c:v>
                </c:pt>
                <c:pt idx="207">
                  <c:v>44342</c:v>
                </c:pt>
                <c:pt idx="208">
                  <c:v>44343</c:v>
                </c:pt>
                <c:pt idx="209">
                  <c:v>44344</c:v>
                </c:pt>
                <c:pt idx="210">
                  <c:v>44345</c:v>
                </c:pt>
                <c:pt idx="211">
                  <c:v>44346</c:v>
                </c:pt>
                <c:pt idx="212">
                  <c:v>44348</c:v>
                </c:pt>
                <c:pt idx="213">
                  <c:v>44354</c:v>
                </c:pt>
                <c:pt idx="214">
                  <c:v>44361</c:v>
                </c:pt>
                <c:pt idx="215">
                  <c:v>44368</c:v>
                </c:pt>
                <c:pt idx="216">
                  <c:v>44375</c:v>
                </c:pt>
                <c:pt idx="217">
                  <c:v>44389</c:v>
                </c:pt>
                <c:pt idx="218">
                  <c:v>44396</c:v>
                </c:pt>
                <c:pt idx="219">
                  <c:v>44403</c:v>
                </c:pt>
                <c:pt idx="220">
                  <c:v>44410</c:v>
                </c:pt>
                <c:pt idx="221">
                  <c:v>44454</c:v>
                </c:pt>
                <c:pt idx="222">
                  <c:v>44460</c:v>
                </c:pt>
                <c:pt idx="223">
                  <c:v>44474</c:v>
                </c:pt>
                <c:pt idx="224">
                  <c:v>44481</c:v>
                </c:pt>
                <c:pt idx="225">
                  <c:v>44488</c:v>
                </c:pt>
                <c:pt idx="226">
                  <c:v>44495</c:v>
                </c:pt>
                <c:pt idx="227">
                  <c:v>44502</c:v>
                </c:pt>
                <c:pt idx="228">
                  <c:v>44509</c:v>
                </c:pt>
                <c:pt idx="229">
                  <c:v>44516</c:v>
                </c:pt>
                <c:pt idx="230">
                  <c:v>44523</c:v>
                </c:pt>
              </c:numCache>
            </c:numRef>
          </c:xVal>
          <c:yVal>
            <c:numRef>
              <c:f>Tabulky!$G$8:$G$239</c:f>
              <c:numCache>
                <c:formatCode>General</c:formatCode>
                <c:ptCount val="232"/>
                <c:pt idx="0">
                  <c:v>110</c:v>
                </c:pt>
                <c:pt idx="1">
                  <c:v>107</c:v>
                </c:pt>
                <c:pt idx="2">
                  <c:v>132</c:v>
                </c:pt>
                <c:pt idx="3">
                  <c:v>143</c:v>
                </c:pt>
                <c:pt idx="4">
                  <c:v>145</c:v>
                </c:pt>
                <c:pt idx="5">
                  <c:v>154</c:v>
                </c:pt>
                <c:pt idx="6">
                  <c:v>166</c:v>
                </c:pt>
                <c:pt idx="7">
                  <c:v>181</c:v>
                </c:pt>
                <c:pt idx="8">
                  <c:v>198</c:v>
                </c:pt>
                <c:pt idx="9">
                  <c:v>214</c:v>
                </c:pt>
                <c:pt idx="10">
                  <c:v>229</c:v>
                </c:pt>
                <c:pt idx="11">
                  <c:v>237</c:v>
                </c:pt>
                <c:pt idx="12">
                  <c:v>238</c:v>
                </c:pt>
                <c:pt idx="13">
                  <c:v>257</c:v>
                </c:pt>
                <c:pt idx="14">
                  <c:v>270</c:v>
                </c:pt>
                <c:pt idx="15">
                  <c:v>278</c:v>
                </c:pt>
                <c:pt idx="16">
                  <c:v>275</c:v>
                </c:pt>
                <c:pt idx="17">
                  <c:v>265</c:v>
                </c:pt>
                <c:pt idx="18">
                  <c:v>250</c:v>
                </c:pt>
                <c:pt idx="19">
                  <c:v>259</c:v>
                </c:pt>
                <c:pt idx="20">
                  <c:v>263</c:v>
                </c:pt>
                <c:pt idx="21">
                  <c:v>267</c:v>
                </c:pt>
                <c:pt idx="22">
                  <c:v>267</c:v>
                </c:pt>
                <c:pt idx="23">
                  <c:v>273</c:v>
                </c:pt>
                <c:pt idx="24">
                  <c:v>267</c:v>
                </c:pt>
                <c:pt idx="25">
                  <c:v>269</c:v>
                </c:pt>
                <c:pt idx="26">
                  <c:v>273</c:v>
                </c:pt>
                <c:pt idx="27">
                  <c:v>279</c:v>
                </c:pt>
                <c:pt idx="28">
                  <c:v>289</c:v>
                </c:pt>
                <c:pt idx="29">
                  <c:v>288</c:v>
                </c:pt>
                <c:pt idx="30">
                  <c:v>289</c:v>
                </c:pt>
                <c:pt idx="31">
                  <c:v>298</c:v>
                </c:pt>
                <c:pt idx="32">
                  <c:v>295</c:v>
                </c:pt>
                <c:pt idx="33">
                  <c:v>291</c:v>
                </c:pt>
                <c:pt idx="34">
                  <c:v>294</c:v>
                </c:pt>
                <c:pt idx="35">
                  <c:v>289</c:v>
                </c:pt>
                <c:pt idx="36">
                  <c:v>276</c:v>
                </c:pt>
                <c:pt idx="37">
                  <c:v>262</c:v>
                </c:pt>
                <c:pt idx="38">
                  <c:v>210</c:v>
                </c:pt>
                <c:pt idx="39">
                  <c:v>203</c:v>
                </c:pt>
                <c:pt idx="40">
                  <c:v>181</c:v>
                </c:pt>
                <c:pt idx="41">
                  <c:v>186</c:v>
                </c:pt>
                <c:pt idx="42">
                  <c:v>185</c:v>
                </c:pt>
                <c:pt idx="43">
                  <c:v>188</c:v>
                </c:pt>
                <c:pt idx="44">
                  <c:v>192</c:v>
                </c:pt>
                <c:pt idx="45">
                  <c:v>193</c:v>
                </c:pt>
                <c:pt idx="46">
                  <c:v>195</c:v>
                </c:pt>
                <c:pt idx="47">
                  <c:v>193</c:v>
                </c:pt>
                <c:pt idx="48">
                  <c:v>203</c:v>
                </c:pt>
                <c:pt idx="49">
                  <c:v>191</c:v>
                </c:pt>
                <c:pt idx="50">
                  <c:v>170</c:v>
                </c:pt>
                <c:pt idx="51">
                  <c:v>174</c:v>
                </c:pt>
                <c:pt idx="52">
                  <c:v>178</c:v>
                </c:pt>
                <c:pt idx="53">
                  <c:v>182</c:v>
                </c:pt>
                <c:pt idx="54">
                  <c:v>185</c:v>
                </c:pt>
                <c:pt idx="55">
                  <c:v>184</c:v>
                </c:pt>
                <c:pt idx="56">
                  <c:v>180</c:v>
                </c:pt>
                <c:pt idx="57">
                  <c:v>178</c:v>
                </c:pt>
                <c:pt idx="58">
                  <c:v>184</c:v>
                </c:pt>
                <c:pt idx="59">
                  <c:v>186</c:v>
                </c:pt>
                <c:pt idx="60">
                  <c:v>185</c:v>
                </c:pt>
                <c:pt idx="61">
                  <c:v>182</c:v>
                </c:pt>
                <c:pt idx="62">
                  <c:v>179</c:v>
                </c:pt>
                <c:pt idx="63">
                  <c:v>187</c:v>
                </c:pt>
                <c:pt idx="64">
                  <c:v>195</c:v>
                </c:pt>
                <c:pt idx="65">
                  <c:v>193</c:v>
                </c:pt>
                <c:pt idx="66">
                  <c:v>192</c:v>
                </c:pt>
                <c:pt idx="67">
                  <c:v>195</c:v>
                </c:pt>
                <c:pt idx="68">
                  <c:v>194</c:v>
                </c:pt>
                <c:pt idx="69">
                  <c:v>186</c:v>
                </c:pt>
                <c:pt idx="70">
                  <c:v>187</c:v>
                </c:pt>
                <c:pt idx="71">
                  <c:v>199</c:v>
                </c:pt>
                <c:pt idx="72">
                  <c:v>209</c:v>
                </c:pt>
                <c:pt idx="73">
                  <c:v>192</c:v>
                </c:pt>
                <c:pt idx="74">
                  <c:v>191</c:v>
                </c:pt>
                <c:pt idx="75">
                  <c:v>191</c:v>
                </c:pt>
                <c:pt idx="76">
                  <c:v>190</c:v>
                </c:pt>
                <c:pt idx="77">
                  <c:v>196</c:v>
                </c:pt>
                <c:pt idx="78">
                  <c:v>197</c:v>
                </c:pt>
                <c:pt idx="79">
                  <c:v>197</c:v>
                </c:pt>
                <c:pt idx="80">
                  <c:v>192</c:v>
                </c:pt>
                <c:pt idx="81">
                  <c:v>192</c:v>
                </c:pt>
                <c:pt idx="82">
                  <c:v>189</c:v>
                </c:pt>
                <c:pt idx="83">
                  <c:v>191</c:v>
                </c:pt>
                <c:pt idx="84">
                  <c:v>196</c:v>
                </c:pt>
                <c:pt idx="85">
                  <c:v>164</c:v>
                </c:pt>
                <c:pt idx="86">
                  <c:v>163</c:v>
                </c:pt>
                <c:pt idx="87">
                  <c:v>165</c:v>
                </c:pt>
                <c:pt idx="88">
                  <c:v>164</c:v>
                </c:pt>
                <c:pt idx="89">
                  <c:v>165</c:v>
                </c:pt>
                <c:pt idx="90">
                  <c:v>160</c:v>
                </c:pt>
                <c:pt idx="91">
                  <c:v>161</c:v>
                </c:pt>
                <c:pt idx="92">
                  <c:v>158</c:v>
                </c:pt>
                <c:pt idx="93">
                  <c:v>96</c:v>
                </c:pt>
                <c:pt idx="94">
                  <c:v>96</c:v>
                </c:pt>
                <c:pt idx="95">
                  <c:v>94</c:v>
                </c:pt>
                <c:pt idx="96">
                  <c:v>71</c:v>
                </c:pt>
                <c:pt idx="97">
                  <c:v>66</c:v>
                </c:pt>
                <c:pt idx="98">
                  <c:v>67</c:v>
                </c:pt>
                <c:pt idx="99">
                  <c:v>68</c:v>
                </c:pt>
                <c:pt idx="100">
                  <c:v>70</c:v>
                </c:pt>
                <c:pt idx="101">
                  <c:v>69</c:v>
                </c:pt>
                <c:pt idx="102">
                  <c:v>68</c:v>
                </c:pt>
                <c:pt idx="103">
                  <c:v>62</c:v>
                </c:pt>
                <c:pt idx="104">
                  <c:v>56</c:v>
                </c:pt>
                <c:pt idx="105">
                  <c:v>57</c:v>
                </c:pt>
                <c:pt idx="106">
                  <c:v>57</c:v>
                </c:pt>
                <c:pt idx="107">
                  <c:v>54</c:v>
                </c:pt>
                <c:pt idx="108">
                  <c:v>50</c:v>
                </c:pt>
                <c:pt idx="109">
                  <c:v>50</c:v>
                </c:pt>
                <c:pt idx="110">
                  <c:v>43</c:v>
                </c:pt>
                <c:pt idx="111">
                  <c:v>39</c:v>
                </c:pt>
                <c:pt idx="112">
                  <c:v>40</c:v>
                </c:pt>
                <c:pt idx="113">
                  <c:v>40</c:v>
                </c:pt>
                <c:pt idx="114">
                  <c:v>38</c:v>
                </c:pt>
                <c:pt idx="115">
                  <c:v>38</c:v>
                </c:pt>
                <c:pt idx="116">
                  <c:v>39</c:v>
                </c:pt>
                <c:pt idx="117">
                  <c:v>40</c:v>
                </c:pt>
                <c:pt idx="118">
                  <c:v>38</c:v>
                </c:pt>
                <c:pt idx="119">
                  <c:v>38</c:v>
                </c:pt>
                <c:pt idx="120">
                  <c:v>38</c:v>
                </c:pt>
                <c:pt idx="121">
                  <c:v>36</c:v>
                </c:pt>
                <c:pt idx="122">
                  <c:v>39</c:v>
                </c:pt>
                <c:pt idx="123">
                  <c:v>39</c:v>
                </c:pt>
                <c:pt idx="124">
                  <c:v>42</c:v>
                </c:pt>
                <c:pt idx="125">
                  <c:v>44</c:v>
                </c:pt>
                <c:pt idx="126">
                  <c:v>44</c:v>
                </c:pt>
                <c:pt idx="127">
                  <c:v>44</c:v>
                </c:pt>
                <c:pt idx="128">
                  <c:v>44</c:v>
                </c:pt>
                <c:pt idx="129">
                  <c:v>43</c:v>
                </c:pt>
                <c:pt idx="130">
                  <c:v>43</c:v>
                </c:pt>
                <c:pt idx="131">
                  <c:v>46</c:v>
                </c:pt>
                <c:pt idx="132">
                  <c:v>47</c:v>
                </c:pt>
                <c:pt idx="133">
                  <c:v>47</c:v>
                </c:pt>
                <c:pt idx="134">
                  <c:v>47</c:v>
                </c:pt>
                <c:pt idx="135">
                  <c:v>45</c:v>
                </c:pt>
                <c:pt idx="136">
                  <c:v>46</c:v>
                </c:pt>
                <c:pt idx="137">
                  <c:v>43</c:v>
                </c:pt>
                <c:pt idx="138">
                  <c:v>39</c:v>
                </c:pt>
                <c:pt idx="139">
                  <c:v>40</c:v>
                </c:pt>
                <c:pt idx="140">
                  <c:v>40</c:v>
                </c:pt>
                <c:pt idx="141">
                  <c:v>40</c:v>
                </c:pt>
                <c:pt idx="142">
                  <c:v>40</c:v>
                </c:pt>
                <c:pt idx="143">
                  <c:v>42</c:v>
                </c:pt>
                <c:pt idx="144">
                  <c:v>39</c:v>
                </c:pt>
                <c:pt idx="145">
                  <c:v>39</c:v>
                </c:pt>
                <c:pt idx="146">
                  <c:v>39</c:v>
                </c:pt>
                <c:pt idx="147">
                  <c:v>39</c:v>
                </c:pt>
                <c:pt idx="148">
                  <c:v>39</c:v>
                </c:pt>
                <c:pt idx="149">
                  <c:v>37</c:v>
                </c:pt>
                <c:pt idx="150">
                  <c:v>37</c:v>
                </c:pt>
                <c:pt idx="151">
                  <c:v>36</c:v>
                </c:pt>
                <c:pt idx="152">
                  <c:v>30</c:v>
                </c:pt>
                <c:pt idx="153">
                  <c:v>30</c:v>
                </c:pt>
                <c:pt idx="154">
                  <c:v>30</c:v>
                </c:pt>
                <c:pt idx="155">
                  <c:v>30</c:v>
                </c:pt>
                <c:pt idx="156">
                  <c:v>31</c:v>
                </c:pt>
                <c:pt idx="157">
                  <c:v>31</c:v>
                </c:pt>
                <c:pt idx="158">
                  <c:v>30</c:v>
                </c:pt>
                <c:pt idx="159">
                  <c:v>29</c:v>
                </c:pt>
                <c:pt idx="160">
                  <c:v>29</c:v>
                </c:pt>
                <c:pt idx="161">
                  <c:v>31</c:v>
                </c:pt>
                <c:pt idx="162">
                  <c:v>31</c:v>
                </c:pt>
                <c:pt idx="163">
                  <c:v>31</c:v>
                </c:pt>
                <c:pt idx="164">
                  <c:v>31</c:v>
                </c:pt>
                <c:pt idx="165">
                  <c:v>32</c:v>
                </c:pt>
                <c:pt idx="166">
                  <c:v>32</c:v>
                </c:pt>
                <c:pt idx="167">
                  <c:v>33</c:v>
                </c:pt>
                <c:pt idx="168">
                  <c:v>33</c:v>
                </c:pt>
                <c:pt idx="169">
                  <c:v>33</c:v>
                </c:pt>
                <c:pt idx="170">
                  <c:v>32</c:v>
                </c:pt>
                <c:pt idx="171">
                  <c:v>32</c:v>
                </c:pt>
                <c:pt idx="172">
                  <c:v>31</c:v>
                </c:pt>
                <c:pt idx="173">
                  <c:v>29</c:v>
                </c:pt>
                <c:pt idx="174">
                  <c:v>30</c:v>
                </c:pt>
                <c:pt idx="175">
                  <c:v>28</c:v>
                </c:pt>
                <c:pt idx="176">
                  <c:v>28</c:v>
                </c:pt>
                <c:pt idx="177">
                  <c:v>27</c:v>
                </c:pt>
                <c:pt idx="178">
                  <c:v>27</c:v>
                </c:pt>
                <c:pt idx="179">
                  <c:v>27</c:v>
                </c:pt>
                <c:pt idx="180">
                  <c:v>26</c:v>
                </c:pt>
                <c:pt idx="181">
                  <c:v>21</c:v>
                </c:pt>
                <c:pt idx="182">
                  <c:v>21</c:v>
                </c:pt>
                <c:pt idx="183">
                  <c:v>21</c:v>
                </c:pt>
                <c:pt idx="184">
                  <c:v>18</c:v>
                </c:pt>
                <c:pt idx="185">
                  <c:v>19</c:v>
                </c:pt>
                <c:pt idx="186">
                  <c:v>20</c:v>
                </c:pt>
                <c:pt idx="187">
                  <c:v>20</c:v>
                </c:pt>
                <c:pt idx="188">
                  <c:v>20</c:v>
                </c:pt>
                <c:pt idx="189">
                  <c:v>19</c:v>
                </c:pt>
                <c:pt idx="190">
                  <c:v>19</c:v>
                </c:pt>
                <c:pt idx="191">
                  <c:v>18</c:v>
                </c:pt>
                <c:pt idx="192">
                  <c:v>19</c:v>
                </c:pt>
                <c:pt idx="193">
                  <c:v>19</c:v>
                </c:pt>
                <c:pt idx="194">
                  <c:v>18</c:v>
                </c:pt>
                <c:pt idx="195">
                  <c:v>18</c:v>
                </c:pt>
                <c:pt idx="196">
                  <c:v>18</c:v>
                </c:pt>
                <c:pt idx="197">
                  <c:v>18</c:v>
                </c:pt>
                <c:pt idx="198">
                  <c:v>17</c:v>
                </c:pt>
                <c:pt idx="199">
                  <c:v>18</c:v>
                </c:pt>
                <c:pt idx="200">
                  <c:v>18</c:v>
                </c:pt>
                <c:pt idx="201">
                  <c:v>19</c:v>
                </c:pt>
                <c:pt idx="202">
                  <c:v>19</c:v>
                </c:pt>
                <c:pt idx="203">
                  <c:v>19</c:v>
                </c:pt>
                <c:pt idx="204">
                  <c:v>19</c:v>
                </c:pt>
                <c:pt idx="205">
                  <c:v>19</c:v>
                </c:pt>
                <c:pt idx="206">
                  <c:v>19</c:v>
                </c:pt>
                <c:pt idx="207">
                  <c:v>18</c:v>
                </c:pt>
                <c:pt idx="208">
                  <c:v>18</c:v>
                </c:pt>
                <c:pt idx="209">
                  <c:v>18</c:v>
                </c:pt>
                <c:pt idx="210">
                  <c:v>18</c:v>
                </c:pt>
                <c:pt idx="211">
                  <c:v>18</c:v>
                </c:pt>
                <c:pt idx="212">
                  <c:v>16</c:v>
                </c:pt>
                <c:pt idx="213">
                  <c:v>11</c:v>
                </c:pt>
                <c:pt idx="214">
                  <c:v>11</c:v>
                </c:pt>
                <c:pt idx="215">
                  <c:v>11</c:v>
                </c:pt>
                <c:pt idx="216">
                  <c:v>10</c:v>
                </c:pt>
                <c:pt idx="217">
                  <c:v>7</c:v>
                </c:pt>
                <c:pt idx="218">
                  <c:v>6</c:v>
                </c:pt>
                <c:pt idx="219">
                  <c:v>7</c:v>
                </c:pt>
                <c:pt idx="220">
                  <c:v>7</c:v>
                </c:pt>
                <c:pt idx="221">
                  <c:v>10</c:v>
                </c:pt>
                <c:pt idx="222">
                  <c:v>9</c:v>
                </c:pt>
                <c:pt idx="223">
                  <c:v>3</c:v>
                </c:pt>
                <c:pt idx="224">
                  <c:v>5</c:v>
                </c:pt>
                <c:pt idx="225">
                  <c:v>3</c:v>
                </c:pt>
                <c:pt idx="226">
                  <c:v>8</c:v>
                </c:pt>
                <c:pt idx="227">
                  <c:v>14</c:v>
                </c:pt>
                <c:pt idx="228">
                  <c:v>27</c:v>
                </c:pt>
                <c:pt idx="229">
                  <c:v>60</c:v>
                </c:pt>
                <c:pt idx="230">
                  <c:v>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B4B8-4BAD-B6F2-2E2A69C4DC8A}"/>
            </c:ext>
          </c:extLst>
        </c:ser>
        <c:ser>
          <c:idx val="3"/>
          <c:order val="3"/>
          <c:tx>
            <c:strRef>
              <c:f>Tabulky!$H$6</c:f>
              <c:strCache>
                <c:ptCount val="1"/>
                <c:pt idx="0">
                  <c:v>Úmrtí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Tabulky!$A$8:$A$239</c:f>
              <c:numCache>
                <c:formatCode>m/d/yyyy</c:formatCode>
                <c:ptCount val="232"/>
                <c:pt idx="0">
                  <c:v>44126</c:v>
                </c:pt>
                <c:pt idx="1">
                  <c:v>44127</c:v>
                </c:pt>
                <c:pt idx="2">
                  <c:v>44128</c:v>
                </c:pt>
                <c:pt idx="3">
                  <c:v>44129</c:v>
                </c:pt>
                <c:pt idx="4">
                  <c:v>44130</c:v>
                </c:pt>
                <c:pt idx="5">
                  <c:v>44131</c:v>
                </c:pt>
                <c:pt idx="6">
                  <c:v>44132</c:v>
                </c:pt>
                <c:pt idx="7">
                  <c:v>44133</c:v>
                </c:pt>
                <c:pt idx="8">
                  <c:v>44134</c:v>
                </c:pt>
                <c:pt idx="9">
                  <c:v>44135</c:v>
                </c:pt>
                <c:pt idx="10">
                  <c:v>44136</c:v>
                </c:pt>
                <c:pt idx="11">
                  <c:v>44137</c:v>
                </c:pt>
                <c:pt idx="12">
                  <c:v>44139</c:v>
                </c:pt>
                <c:pt idx="13">
                  <c:v>44140</c:v>
                </c:pt>
                <c:pt idx="14">
                  <c:v>44141</c:v>
                </c:pt>
                <c:pt idx="15">
                  <c:v>44142</c:v>
                </c:pt>
                <c:pt idx="16">
                  <c:v>44143</c:v>
                </c:pt>
                <c:pt idx="17">
                  <c:v>44144</c:v>
                </c:pt>
                <c:pt idx="18">
                  <c:v>44145</c:v>
                </c:pt>
                <c:pt idx="19">
                  <c:v>44146</c:v>
                </c:pt>
                <c:pt idx="20">
                  <c:v>44147</c:v>
                </c:pt>
                <c:pt idx="21">
                  <c:v>44148</c:v>
                </c:pt>
                <c:pt idx="22">
                  <c:v>44150</c:v>
                </c:pt>
                <c:pt idx="23">
                  <c:v>44151</c:v>
                </c:pt>
                <c:pt idx="24">
                  <c:v>44152</c:v>
                </c:pt>
                <c:pt idx="25">
                  <c:v>44153</c:v>
                </c:pt>
                <c:pt idx="26">
                  <c:v>44154</c:v>
                </c:pt>
                <c:pt idx="27">
                  <c:v>44155</c:v>
                </c:pt>
                <c:pt idx="28">
                  <c:v>44157</c:v>
                </c:pt>
                <c:pt idx="29">
                  <c:v>44158</c:v>
                </c:pt>
                <c:pt idx="30">
                  <c:v>44159</c:v>
                </c:pt>
                <c:pt idx="31">
                  <c:v>44160</c:v>
                </c:pt>
                <c:pt idx="32">
                  <c:v>44161</c:v>
                </c:pt>
                <c:pt idx="33">
                  <c:v>44162</c:v>
                </c:pt>
                <c:pt idx="34">
                  <c:v>44163</c:v>
                </c:pt>
                <c:pt idx="35">
                  <c:v>44164</c:v>
                </c:pt>
                <c:pt idx="36">
                  <c:v>44165</c:v>
                </c:pt>
                <c:pt idx="37">
                  <c:v>44166</c:v>
                </c:pt>
                <c:pt idx="38">
                  <c:v>44167</c:v>
                </c:pt>
                <c:pt idx="39">
                  <c:v>44168</c:v>
                </c:pt>
                <c:pt idx="40">
                  <c:v>44169</c:v>
                </c:pt>
                <c:pt idx="41">
                  <c:v>44172</c:v>
                </c:pt>
                <c:pt idx="42">
                  <c:v>44173</c:v>
                </c:pt>
                <c:pt idx="43">
                  <c:v>44174</c:v>
                </c:pt>
                <c:pt idx="44">
                  <c:v>44175</c:v>
                </c:pt>
                <c:pt idx="45">
                  <c:v>44176</c:v>
                </c:pt>
                <c:pt idx="46">
                  <c:v>44177</c:v>
                </c:pt>
                <c:pt idx="47">
                  <c:v>44178</c:v>
                </c:pt>
                <c:pt idx="48">
                  <c:v>44179</c:v>
                </c:pt>
                <c:pt idx="49">
                  <c:v>44180</c:v>
                </c:pt>
                <c:pt idx="50">
                  <c:v>44181</c:v>
                </c:pt>
                <c:pt idx="51">
                  <c:v>44182</c:v>
                </c:pt>
                <c:pt idx="52">
                  <c:v>44183</c:v>
                </c:pt>
                <c:pt idx="53">
                  <c:v>44184</c:v>
                </c:pt>
                <c:pt idx="54">
                  <c:v>44185</c:v>
                </c:pt>
                <c:pt idx="55">
                  <c:v>44186</c:v>
                </c:pt>
                <c:pt idx="56">
                  <c:v>44187</c:v>
                </c:pt>
                <c:pt idx="57">
                  <c:v>44188</c:v>
                </c:pt>
                <c:pt idx="58">
                  <c:v>44189</c:v>
                </c:pt>
                <c:pt idx="59">
                  <c:v>44190</c:v>
                </c:pt>
                <c:pt idx="60">
                  <c:v>44191</c:v>
                </c:pt>
                <c:pt idx="61">
                  <c:v>44192</c:v>
                </c:pt>
                <c:pt idx="62">
                  <c:v>44193</c:v>
                </c:pt>
                <c:pt idx="63">
                  <c:v>44194</c:v>
                </c:pt>
                <c:pt idx="64">
                  <c:v>44195</c:v>
                </c:pt>
                <c:pt idx="65">
                  <c:v>44196</c:v>
                </c:pt>
                <c:pt idx="66">
                  <c:v>44197</c:v>
                </c:pt>
                <c:pt idx="67">
                  <c:v>44198</c:v>
                </c:pt>
                <c:pt idx="68">
                  <c:v>44199</c:v>
                </c:pt>
                <c:pt idx="69">
                  <c:v>44200</c:v>
                </c:pt>
                <c:pt idx="70">
                  <c:v>44201</c:v>
                </c:pt>
                <c:pt idx="71">
                  <c:v>44202</c:v>
                </c:pt>
                <c:pt idx="72">
                  <c:v>44203</c:v>
                </c:pt>
                <c:pt idx="73">
                  <c:v>44204</c:v>
                </c:pt>
                <c:pt idx="74">
                  <c:v>44205</c:v>
                </c:pt>
                <c:pt idx="75">
                  <c:v>44206</c:v>
                </c:pt>
                <c:pt idx="76">
                  <c:v>44207</c:v>
                </c:pt>
                <c:pt idx="77">
                  <c:v>44209</c:v>
                </c:pt>
                <c:pt idx="78">
                  <c:v>44210</c:v>
                </c:pt>
                <c:pt idx="79">
                  <c:v>44211</c:v>
                </c:pt>
                <c:pt idx="80">
                  <c:v>44212</c:v>
                </c:pt>
                <c:pt idx="81">
                  <c:v>44213</c:v>
                </c:pt>
                <c:pt idx="82">
                  <c:v>44214</c:v>
                </c:pt>
                <c:pt idx="83">
                  <c:v>44215</c:v>
                </c:pt>
                <c:pt idx="84">
                  <c:v>44216</c:v>
                </c:pt>
                <c:pt idx="85">
                  <c:v>44217</c:v>
                </c:pt>
                <c:pt idx="86">
                  <c:v>44218</c:v>
                </c:pt>
                <c:pt idx="87">
                  <c:v>44219</c:v>
                </c:pt>
                <c:pt idx="88">
                  <c:v>44220</c:v>
                </c:pt>
                <c:pt idx="89">
                  <c:v>44221</c:v>
                </c:pt>
                <c:pt idx="90">
                  <c:v>44222</c:v>
                </c:pt>
                <c:pt idx="91">
                  <c:v>44223</c:v>
                </c:pt>
                <c:pt idx="92">
                  <c:v>44224</c:v>
                </c:pt>
                <c:pt idx="93">
                  <c:v>44225</c:v>
                </c:pt>
                <c:pt idx="94">
                  <c:v>44226</c:v>
                </c:pt>
                <c:pt idx="95">
                  <c:v>44227</c:v>
                </c:pt>
                <c:pt idx="96">
                  <c:v>44228</c:v>
                </c:pt>
                <c:pt idx="97">
                  <c:v>44229</c:v>
                </c:pt>
                <c:pt idx="98">
                  <c:v>44230</c:v>
                </c:pt>
                <c:pt idx="99">
                  <c:v>44232</c:v>
                </c:pt>
                <c:pt idx="100">
                  <c:v>44233</c:v>
                </c:pt>
                <c:pt idx="101">
                  <c:v>44234</c:v>
                </c:pt>
                <c:pt idx="102">
                  <c:v>44235</c:v>
                </c:pt>
                <c:pt idx="103">
                  <c:v>44236</c:v>
                </c:pt>
                <c:pt idx="104">
                  <c:v>44237</c:v>
                </c:pt>
                <c:pt idx="105">
                  <c:v>44240</c:v>
                </c:pt>
                <c:pt idx="106">
                  <c:v>44241</c:v>
                </c:pt>
                <c:pt idx="107">
                  <c:v>44242</c:v>
                </c:pt>
                <c:pt idx="108">
                  <c:v>44243</c:v>
                </c:pt>
                <c:pt idx="109">
                  <c:v>44244</c:v>
                </c:pt>
                <c:pt idx="110">
                  <c:v>44245</c:v>
                </c:pt>
                <c:pt idx="111">
                  <c:v>44246</c:v>
                </c:pt>
                <c:pt idx="112">
                  <c:v>44247</c:v>
                </c:pt>
                <c:pt idx="113">
                  <c:v>44248</c:v>
                </c:pt>
                <c:pt idx="114">
                  <c:v>44249</c:v>
                </c:pt>
                <c:pt idx="115">
                  <c:v>44250</c:v>
                </c:pt>
                <c:pt idx="116">
                  <c:v>44251</c:v>
                </c:pt>
                <c:pt idx="117">
                  <c:v>44252</c:v>
                </c:pt>
                <c:pt idx="118">
                  <c:v>44253</c:v>
                </c:pt>
                <c:pt idx="119">
                  <c:v>44254</c:v>
                </c:pt>
                <c:pt idx="120">
                  <c:v>44255</c:v>
                </c:pt>
                <c:pt idx="121">
                  <c:v>44256</c:v>
                </c:pt>
                <c:pt idx="122">
                  <c:v>44257</c:v>
                </c:pt>
                <c:pt idx="123">
                  <c:v>44258</c:v>
                </c:pt>
                <c:pt idx="124">
                  <c:v>44259</c:v>
                </c:pt>
                <c:pt idx="125">
                  <c:v>44260</c:v>
                </c:pt>
                <c:pt idx="126">
                  <c:v>44261</c:v>
                </c:pt>
                <c:pt idx="127">
                  <c:v>44262</c:v>
                </c:pt>
                <c:pt idx="128">
                  <c:v>44263</c:v>
                </c:pt>
                <c:pt idx="129">
                  <c:v>44264</c:v>
                </c:pt>
                <c:pt idx="130">
                  <c:v>44265</c:v>
                </c:pt>
                <c:pt idx="131">
                  <c:v>44266</c:v>
                </c:pt>
                <c:pt idx="132">
                  <c:v>44267</c:v>
                </c:pt>
                <c:pt idx="133">
                  <c:v>44268</c:v>
                </c:pt>
                <c:pt idx="134">
                  <c:v>44269</c:v>
                </c:pt>
                <c:pt idx="135">
                  <c:v>44270</c:v>
                </c:pt>
                <c:pt idx="136">
                  <c:v>44271</c:v>
                </c:pt>
                <c:pt idx="137">
                  <c:v>44272</c:v>
                </c:pt>
                <c:pt idx="138">
                  <c:v>44273</c:v>
                </c:pt>
                <c:pt idx="139">
                  <c:v>44274</c:v>
                </c:pt>
                <c:pt idx="140">
                  <c:v>44275</c:v>
                </c:pt>
                <c:pt idx="141">
                  <c:v>44276</c:v>
                </c:pt>
                <c:pt idx="142">
                  <c:v>44277</c:v>
                </c:pt>
                <c:pt idx="143">
                  <c:v>44278</c:v>
                </c:pt>
                <c:pt idx="144">
                  <c:v>44279</c:v>
                </c:pt>
                <c:pt idx="145">
                  <c:v>44280</c:v>
                </c:pt>
                <c:pt idx="146">
                  <c:v>44281</c:v>
                </c:pt>
                <c:pt idx="147">
                  <c:v>44282</c:v>
                </c:pt>
                <c:pt idx="148">
                  <c:v>44283</c:v>
                </c:pt>
                <c:pt idx="149">
                  <c:v>44284</c:v>
                </c:pt>
                <c:pt idx="150">
                  <c:v>44285</c:v>
                </c:pt>
                <c:pt idx="151">
                  <c:v>44286</c:v>
                </c:pt>
                <c:pt idx="152">
                  <c:v>44287</c:v>
                </c:pt>
                <c:pt idx="153">
                  <c:v>44288</c:v>
                </c:pt>
                <c:pt idx="154">
                  <c:v>44289</c:v>
                </c:pt>
                <c:pt idx="155">
                  <c:v>44290</c:v>
                </c:pt>
                <c:pt idx="156">
                  <c:v>44291</c:v>
                </c:pt>
                <c:pt idx="157">
                  <c:v>44292</c:v>
                </c:pt>
                <c:pt idx="158">
                  <c:v>44293</c:v>
                </c:pt>
                <c:pt idx="159">
                  <c:v>44294</c:v>
                </c:pt>
                <c:pt idx="160">
                  <c:v>44295</c:v>
                </c:pt>
                <c:pt idx="161">
                  <c:v>44296</c:v>
                </c:pt>
                <c:pt idx="162">
                  <c:v>44297</c:v>
                </c:pt>
                <c:pt idx="163">
                  <c:v>44298</c:v>
                </c:pt>
                <c:pt idx="164">
                  <c:v>44299</c:v>
                </c:pt>
                <c:pt idx="165">
                  <c:v>44300</c:v>
                </c:pt>
                <c:pt idx="166">
                  <c:v>44301</c:v>
                </c:pt>
                <c:pt idx="167">
                  <c:v>44302</c:v>
                </c:pt>
                <c:pt idx="168">
                  <c:v>44303</c:v>
                </c:pt>
                <c:pt idx="169">
                  <c:v>44304</c:v>
                </c:pt>
                <c:pt idx="170">
                  <c:v>44305</c:v>
                </c:pt>
                <c:pt idx="171">
                  <c:v>44306</c:v>
                </c:pt>
                <c:pt idx="172">
                  <c:v>44307</c:v>
                </c:pt>
                <c:pt idx="173">
                  <c:v>44308</c:v>
                </c:pt>
                <c:pt idx="174">
                  <c:v>44309</c:v>
                </c:pt>
                <c:pt idx="175">
                  <c:v>44310</c:v>
                </c:pt>
                <c:pt idx="176">
                  <c:v>44311</c:v>
                </c:pt>
                <c:pt idx="177">
                  <c:v>44312</c:v>
                </c:pt>
                <c:pt idx="178">
                  <c:v>44313</c:v>
                </c:pt>
                <c:pt idx="179">
                  <c:v>44314</c:v>
                </c:pt>
                <c:pt idx="180">
                  <c:v>44315</c:v>
                </c:pt>
                <c:pt idx="181">
                  <c:v>44316</c:v>
                </c:pt>
                <c:pt idx="182">
                  <c:v>44317</c:v>
                </c:pt>
                <c:pt idx="183">
                  <c:v>44318</c:v>
                </c:pt>
                <c:pt idx="184">
                  <c:v>44319</c:v>
                </c:pt>
                <c:pt idx="185">
                  <c:v>44320</c:v>
                </c:pt>
                <c:pt idx="186">
                  <c:v>44321</c:v>
                </c:pt>
                <c:pt idx="187">
                  <c:v>44322</c:v>
                </c:pt>
                <c:pt idx="188">
                  <c:v>44323</c:v>
                </c:pt>
                <c:pt idx="189">
                  <c:v>44324</c:v>
                </c:pt>
                <c:pt idx="190">
                  <c:v>44325</c:v>
                </c:pt>
                <c:pt idx="191">
                  <c:v>44326</c:v>
                </c:pt>
                <c:pt idx="192">
                  <c:v>44327</c:v>
                </c:pt>
                <c:pt idx="193">
                  <c:v>44328</c:v>
                </c:pt>
                <c:pt idx="194">
                  <c:v>44329</c:v>
                </c:pt>
                <c:pt idx="195">
                  <c:v>44330</c:v>
                </c:pt>
                <c:pt idx="196">
                  <c:v>44331</c:v>
                </c:pt>
                <c:pt idx="197">
                  <c:v>44332</c:v>
                </c:pt>
                <c:pt idx="198">
                  <c:v>44333</c:v>
                </c:pt>
                <c:pt idx="199">
                  <c:v>44334</c:v>
                </c:pt>
                <c:pt idx="200">
                  <c:v>44335</c:v>
                </c:pt>
                <c:pt idx="201">
                  <c:v>44336</c:v>
                </c:pt>
                <c:pt idx="202">
                  <c:v>44337</c:v>
                </c:pt>
                <c:pt idx="203">
                  <c:v>44338</c:v>
                </c:pt>
                <c:pt idx="204">
                  <c:v>44339</c:v>
                </c:pt>
                <c:pt idx="205">
                  <c:v>44340</c:v>
                </c:pt>
                <c:pt idx="206">
                  <c:v>44341</c:v>
                </c:pt>
                <c:pt idx="207">
                  <c:v>44342</c:v>
                </c:pt>
                <c:pt idx="208">
                  <c:v>44343</c:v>
                </c:pt>
                <c:pt idx="209">
                  <c:v>44344</c:v>
                </c:pt>
                <c:pt idx="210">
                  <c:v>44345</c:v>
                </c:pt>
                <c:pt idx="211">
                  <c:v>44346</c:v>
                </c:pt>
                <c:pt idx="212">
                  <c:v>44348</c:v>
                </c:pt>
                <c:pt idx="213">
                  <c:v>44354</c:v>
                </c:pt>
                <c:pt idx="214">
                  <c:v>44361</c:v>
                </c:pt>
                <c:pt idx="215">
                  <c:v>44368</c:v>
                </c:pt>
                <c:pt idx="216">
                  <c:v>44375</c:v>
                </c:pt>
                <c:pt idx="217">
                  <c:v>44389</c:v>
                </c:pt>
                <c:pt idx="218">
                  <c:v>44396</c:v>
                </c:pt>
                <c:pt idx="219">
                  <c:v>44403</c:v>
                </c:pt>
                <c:pt idx="220">
                  <c:v>44410</c:v>
                </c:pt>
                <c:pt idx="221">
                  <c:v>44454</c:v>
                </c:pt>
                <c:pt idx="222">
                  <c:v>44460</c:v>
                </c:pt>
                <c:pt idx="223">
                  <c:v>44474</c:v>
                </c:pt>
                <c:pt idx="224">
                  <c:v>44481</c:v>
                </c:pt>
                <c:pt idx="225">
                  <c:v>44488</c:v>
                </c:pt>
                <c:pt idx="226">
                  <c:v>44495</c:v>
                </c:pt>
                <c:pt idx="227">
                  <c:v>44502</c:v>
                </c:pt>
                <c:pt idx="228">
                  <c:v>44509</c:v>
                </c:pt>
                <c:pt idx="229">
                  <c:v>44516</c:v>
                </c:pt>
                <c:pt idx="230">
                  <c:v>44523</c:v>
                </c:pt>
              </c:numCache>
            </c:numRef>
          </c:xVal>
          <c:yVal>
            <c:numRef>
              <c:f>Tabulky!$I$8:$I$239</c:f>
              <c:numCache>
                <c:formatCode>General</c:formatCode>
                <c:ptCount val="232"/>
                <c:pt idx="0">
                  <c:v>7</c:v>
                </c:pt>
                <c:pt idx="1">
                  <c:v>9</c:v>
                </c:pt>
                <c:pt idx="2">
                  <c:v>9</c:v>
                </c:pt>
                <c:pt idx="3">
                  <c:v>13</c:v>
                </c:pt>
                <c:pt idx="4">
                  <c:v>15</c:v>
                </c:pt>
                <c:pt idx="5">
                  <c:v>19</c:v>
                </c:pt>
                <c:pt idx="6">
                  <c:v>20</c:v>
                </c:pt>
                <c:pt idx="7">
                  <c:v>23</c:v>
                </c:pt>
                <c:pt idx="8">
                  <c:v>26</c:v>
                </c:pt>
                <c:pt idx="9">
                  <c:v>26</c:v>
                </c:pt>
                <c:pt idx="10">
                  <c:v>26</c:v>
                </c:pt>
                <c:pt idx="11">
                  <c:v>31</c:v>
                </c:pt>
                <c:pt idx="12">
                  <c:v>40</c:v>
                </c:pt>
                <c:pt idx="13">
                  <c:v>42</c:v>
                </c:pt>
                <c:pt idx="14">
                  <c:v>49</c:v>
                </c:pt>
                <c:pt idx="15">
                  <c:v>51</c:v>
                </c:pt>
                <c:pt idx="16">
                  <c:v>53</c:v>
                </c:pt>
                <c:pt idx="17">
                  <c:v>54</c:v>
                </c:pt>
                <c:pt idx="18">
                  <c:v>57</c:v>
                </c:pt>
                <c:pt idx="19">
                  <c:v>61</c:v>
                </c:pt>
                <c:pt idx="20">
                  <c:v>62</c:v>
                </c:pt>
                <c:pt idx="21">
                  <c:v>64</c:v>
                </c:pt>
                <c:pt idx="22">
                  <c:v>64</c:v>
                </c:pt>
                <c:pt idx="23">
                  <c:v>70</c:v>
                </c:pt>
                <c:pt idx="24">
                  <c:v>70</c:v>
                </c:pt>
                <c:pt idx="25">
                  <c:v>71</c:v>
                </c:pt>
                <c:pt idx="26">
                  <c:v>71</c:v>
                </c:pt>
                <c:pt idx="27">
                  <c:v>74</c:v>
                </c:pt>
                <c:pt idx="28">
                  <c:v>78</c:v>
                </c:pt>
                <c:pt idx="29">
                  <c:v>81</c:v>
                </c:pt>
                <c:pt idx="30">
                  <c:v>88</c:v>
                </c:pt>
                <c:pt idx="31">
                  <c:v>89</c:v>
                </c:pt>
                <c:pt idx="32">
                  <c:v>89</c:v>
                </c:pt>
                <c:pt idx="33">
                  <c:v>90</c:v>
                </c:pt>
                <c:pt idx="34">
                  <c:v>91</c:v>
                </c:pt>
                <c:pt idx="35">
                  <c:v>91</c:v>
                </c:pt>
                <c:pt idx="36">
                  <c:v>91</c:v>
                </c:pt>
                <c:pt idx="37">
                  <c:v>94</c:v>
                </c:pt>
                <c:pt idx="38">
                  <c:v>97</c:v>
                </c:pt>
                <c:pt idx="39">
                  <c:v>98</c:v>
                </c:pt>
                <c:pt idx="40">
                  <c:v>99</c:v>
                </c:pt>
                <c:pt idx="41">
                  <c:v>105</c:v>
                </c:pt>
                <c:pt idx="42">
                  <c:v>106</c:v>
                </c:pt>
                <c:pt idx="43">
                  <c:v>106</c:v>
                </c:pt>
                <c:pt idx="44">
                  <c:v>107</c:v>
                </c:pt>
                <c:pt idx="45">
                  <c:v>120</c:v>
                </c:pt>
                <c:pt idx="46">
                  <c:v>121</c:v>
                </c:pt>
                <c:pt idx="47">
                  <c:v>123</c:v>
                </c:pt>
                <c:pt idx="48">
                  <c:v>129</c:v>
                </c:pt>
                <c:pt idx="49">
                  <c:v>131</c:v>
                </c:pt>
                <c:pt idx="50">
                  <c:v>136</c:v>
                </c:pt>
                <c:pt idx="51">
                  <c:v>138</c:v>
                </c:pt>
                <c:pt idx="52">
                  <c:v>143</c:v>
                </c:pt>
                <c:pt idx="53">
                  <c:v>143</c:v>
                </c:pt>
                <c:pt idx="54">
                  <c:v>144</c:v>
                </c:pt>
                <c:pt idx="55">
                  <c:v>146</c:v>
                </c:pt>
                <c:pt idx="56">
                  <c:v>148</c:v>
                </c:pt>
                <c:pt idx="57">
                  <c:v>151</c:v>
                </c:pt>
                <c:pt idx="58">
                  <c:v>154</c:v>
                </c:pt>
                <c:pt idx="59">
                  <c:v>154</c:v>
                </c:pt>
                <c:pt idx="60">
                  <c:v>156</c:v>
                </c:pt>
                <c:pt idx="61">
                  <c:v>156</c:v>
                </c:pt>
                <c:pt idx="62">
                  <c:v>163</c:v>
                </c:pt>
                <c:pt idx="63">
                  <c:v>173</c:v>
                </c:pt>
                <c:pt idx="64">
                  <c:v>178</c:v>
                </c:pt>
                <c:pt idx="65">
                  <c:v>179</c:v>
                </c:pt>
                <c:pt idx="66">
                  <c:v>181</c:v>
                </c:pt>
                <c:pt idx="67">
                  <c:v>182</c:v>
                </c:pt>
                <c:pt idx="68">
                  <c:v>184</c:v>
                </c:pt>
                <c:pt idx="69">
                  <c:v>186</c:v>
                </c:pt>
                <c:pt idx="70">
                  <c:v>187</c:v>
                </c:pt>
                <c:pt idx="71">
                  <c:v>193</c:v>
                </c:pt>
                <c:pt idx="72">
                  <c:v>194</c:v>
                </c:pt>
                <c:pt idx="73">
                  <c:v>194</c:v>
                </c:pt>
                <c:pt idx="74">
                  <c:v>198</c:v>
                </c:pt>
                <c:pt idx="75">
                  <c:v>198</c:v>
                </c:pt>
                <c:pt idx="76">
                  <c:v>201</c:v>
                </c:pt>
                <c:pt idx="77">
                  <c:v>208</c:v>
                </c:pt>
                <c:pt idx="78">
                  <c:v>208</c:v>
                </c:pt>
                <c:pt idx="79">
                  <c:v>210</c:v>
                </c:pt>
                <c:pt idx="80">
                  <c:v>210</c:v>
                </c:pt>
                <c:pt idx="81">
                  <c:v>210</c:v>
                </c:pt>
                <c:pt idx="82">
                  <c:v>212</c:v>
                </c:pt>
                <c:pt idx="83">
                  <c:v>213</c:v>
                </c:pt>
                <c:pt idx="84">
                  <c:v>213</c:v>
                </c:pt>
                <c:pt idx="85">
                  <c:v>215</c:v>
                </c:pt>
                <c:pt idx="86">
                  <c:v>215</c:v>
                </c:pt>
                <c:pt idx="87">
                  <c:v>215</c:v>
                </c:pt>
                <c:pt idx="88">
                  <c:v>215</c:v>
                </c:pt>
                <c:pt idx="89">
                  <c:v>218</c:v>
                </c:pt>
                <c:pt idx="90">
                  <c:v>218</c:v>
                </c:pt>
                <c:pt idx="91">
                  <c:v>218</c:v>
                </c:pt>
                <c:pt idx="92">
                  <c:v>218</c:v>
                </c:pt>
                <c:pt idx="93">
                  <c:v>218</c:v>
                </c:pt>
                <c:pt idx="94">
                  <c:v>218</c:v>
                </c:pt>
                <c:pt idx="95">
                  <c:v>218</c:v>
                </c:pt>
                <c:pt idx="96">
                  <c:v>219</c:v>
                </c:pt>
                <c:pt idx="97">
                  <c:v>220</c:v>
                </c:pt>
                <c:pt idx="98">
                  <c:v>221</c:v>
                </c:pt>
                <c:pt idx="99">
                  <c:v>221</c:v>
                </c:pt>
                <c:pt idx="100">
                  <c:v>221</c:v>
                </c:pt>
                <c:pt idx="101">
                  <c:v>221</c:v>
                </c:pt>
                <c:pt idx="102">
                  <c:v>221</c:v>
                </c:pt>
                <c:pt idx="103">
                  <c:v>222</c:v>
                </c:pt>
                <c:pt idx="104">
                  <c:v>222</c:v>
                </c:pt>
                <c:pt idx="105">
                  <c:v>222</c:v>
                </c:pt>
                <c:pt idx="106">
                  <c:v>222</c:v>
                </c:pt>
                <c:pt idx="107">
                  <c:v>222</c:v>
                </c:pt>
                <c:pt idx="108">
                  <c:v>223</c:v>
                </c:pt>
                <c:pt idx="109">
                  <c:v>224</c:v>
                </c:pt>
                <c:pt idx="110">
                  <c:v>226</c:v>
                </c:pt>
                <c:pt idx="111">
                  <c:v>226</c:v>
                </c:pt>
                <c:pt idx="112">
                  <c:v>226</c:v>
                </c:pt>
                <c:pt idx="113">
                  <c:v>226</c:v>
                </c:pt>
                <c:pt idx="114">
                  <c:v>226</c:v>
                </c:pt>
                <c:pt idx="115">
                  <c:v>228</c:v>
                </c:pt>
                <c:pt idx="116">
                  <c:v>228</c:v>
                </c:pt>
                <c:pt idx="117">
                  <c:v>229</c:v>
                </c:pt>
                <c:pt idx="118">
                  <c:v>229</c:v>
                </c:pt>
                <c:pt idx="119">
                  <c:v>229</c:v>
                </c:pt>
                <c:pt idx="120">
                  <c:v>230</c:v>
                </c:pt>
                <c:pt idx="121">
                  <c:v>230</c:v>
                </c:pt>
                <c:pt idx="122">
                  <c:v>230</c:v>
                </c:pt>
                <c:pt idx="123">
                  <c:v>230</c:v>
                </c:pt>
                <c:pt idx="124">
                  <c:v>230</c:v>
                </c:pt>
                <c:pt idx="125">
                  <c:v>230</c:v>
                </c:pt>
                <c:pt idx="126">
                  <c:v>230</c:v>
                </c:pt>
                <c:pt idx="127">
                  <c:v>230</c:v>
                </c:pt>
                <c:pt idx="128">
                  <c:v>230</c:v>
                </c:pt>
                <c:pt idx="129">
                  <c:v>230</c:v>
                </c:pt>
                <c:pt idx="130">
                  <c:v>230</c:v>
                </c:pt>
                <c:pt idx="131">
                  <c:v>230</c:v>
                </c:pt>
                <c:pt idx="132">
                  <c:v>230</c:v>
                </c:pt>
                <c:pt idx="133">
                  <c:v>230</c:v>
                </c:pt>
                <c:pt idx="134">
                  <c:v>230</c:v>
                </c:pt>
                <c:pt idx="135">
                  <c:v>230</c:v>
                </c:pt>
                <c:pt idx="136">
                  <c:v>230</c:v>
                </c:pt>
                <c:pt idx="137">
                  <c:v>230</c:v>
                </c:pt>
                <c:pt idx="138">
                  <c:v>231</c:v>
                </c:pt>
                <c:pt idx="139">
                  <c:v>231</c:v>
                </c:pt>
                <c:pt idx="140">
                  <c:v>231</c:v>
                </c:pt>
                <c:pt idx="141">
                  <c:v>231</c:v>
                </c:pt>
                <c:pt idx="142">
                  <c:v>231</c:v>
                </c:pt>
                <c:pt idx="143">
                  <c:v>231</c:v>
                </c:pt>
                <c:pt idx="144">
                  <c:v>231</c:v>
                </c:pt>
                <c:pt idx="145">
                  <c:v>232</c:v>
                </c:pt>
                <c:pt idx="146">
                  <c:v>232</c:v>
                </c:pt>
                <c:pt idx="147">
                  <c:v>232</c:v>
                </c:pt>
                <c:pt idx="148">
                  <c:v>232</c:v>
                </c:pt>
                <c:pt idx="149">
                  <c:v>232</c:v>
                </c:pt>
                <c:pt idx="150">
                  <c:v>232</c:v>
                </c:pt>
                <c:pt idx="151">
                  <c:v>232</c:v>
                </c:pt>
                <c:pt idx="152">
                  <c:v>232</c:v>
                </c:pt>
                <c:pt idx="153">
                  <c:v>232</c:v>
                </c:pt>
                <c:pt idx="154">
                  <c:v>232</c:v>
                </c:pt>
                <c:pt idx="155">
                  <c:v>232</c:v>
                </c:pt>
                <c:pt idx="156">
                  <c:v>232</c:v>
                </c:pt>
                <c:pt idx="157">
                  <c:v>232</c:v>
                </c:pt>
                <c:pt idx="158">
                  <c:v>232</c:v>
                </c:pt>
                <c:pt idx="159">
                  <c:v>232</c:v>
                </c:pt>
                <c:pt idx="160">
                  <c:v>232</c:v>
                </c:pt>
                <c:pt idx="161">
                  <c:v>232</c:v>
                </c:pt>
                <c:pt idx="162">
                  <c:v>232</c:v>
                </c:pt>
                <c:pt idx="163">
                  <c:v>232</c:v>
                </c:pt>
                <c:pt idx="164">
                  <c:v>232</c:v>
                </c:pt>
                <c:pt idx="165">
                  <c:v>232</c:v>
                </c:pt>
                <c:pt idx="166">
                  <c:v>232</c:v>
                </c:pt>
                <c:pt idx="167">
                  <c:v>232</c:v>
                </c:pt>
                <c:pt idx="168">
                  <c:v>232</c:v>
                </c:pt>
                <c:pt idx="169">
                  <c:v>232</c:v>
                </c:pt>
                <c:pt idx="170">
                  <c:v>232</c:v>
                </c:pt>
                <c:pt idx="171">
                  <c:v>232</c:v>
                </c:pt>
                <c:pt idx="172">
                  <c:v>232</c:v>
                </c:pt>
                <c:pt idx="173">
                  <c:v>232</c:v>
                </c:pt>
                <c:pt idx="174">
                  <c:v>232</c:v>
                </c:pt>
                <c:pt idx="175">
                  <c:v>232</c:v>
                </c:pt>
                <c:pt idx="176">
                  <c:v>232</c:v>
                </c:pt>
                <c:pt idx="177">
                  <c:v>233</c:v>
                </c:pt>
                <c:pt idx="178">
                  <c:v>233</c:v>
                </c:pt>
                <c:pt idx="179">
                  <c:v>233</c:v>
                </c:pt>
                <c:pt idx="180">
                  <c:v>233</c:v>
                </c:pt>
                <c:pt idx="181">
                  <c:v>233</c:v>
                </c:pt>
                <c:pt idx="182">
                  <c:v>233</c:v>
                </c:pt>
                <c:pt idx="183">
                  <c:v>233</c:v>
                </c:pt>
                <c:pt idx="184">
                  <c:v>233</c:v>
                </c:pt>
                <c:pt idx="185">
                  <c:v>233</c:v>
                </c:pt>
                <c:pt idx="186">
                  <c:v>233</c:v>
                </c:pt>
                <c:pt idx="187">
                  <c:v>233</c:v>
                </c:pt>
                <c:pt idx="188">
                  <c:v>233</c:v>
                </c:pt>
                <c:pt idx="189">
                  <c:v>233</c:v>
                </c:pt>
                <c:pt idx="190">
                  <c:v>233</c:v>
                </c:pt>
                <c:pt idx="191">
                  <c:v>233</c:v>
                </c:pt>
                <c:pt idx="192">
                  <c:v>235</c:v>
                </c:pt>
                <c:pt idx="193">
                  <c:v>235</c:v>
                </c:pt>
                <c:pt idx="194">
                  <c:v>235</c:v>
                </c:pt>
                <c:pt idx="195">
                  <c:v>235</c:v>
                </c:pt>
                <c:pt idx="196">
                  <c:v>235</c:v>
                </c:pt>
                <c:pt idx="197">
                  <c:v>235</c:v>
                </c:pt>
                <c:pt idx="198">
                  <c:v>235</c:v>
                </c:pt>
                <c:pt idx="199">
                  <c:v>235</c:v>
                </c:pt>
                <c:pt idx="200">
                  <c:v>235</c:v>
                </c:pt>
                <c:pt idx="201">
                  <c:v>235</c:v>
                </c:pt>
                <c:pt idx="202">
                  <c:v>235</c:v>
                </c:pt>
                <c:pt idx="203">
                  <c:v>235</c:v>
                </c:pt>
                <c:pt idx="204">
                  <c:v>235</c:v>
                </c:pt>
                <c:pt idx="205">
                  <c:v>235</c:v>
                </c:pt>
                <c:pt idx="206">
                  <c:v>235</c:v>
                </c:pt>
                <c:pt idx="207">
                  <c:v>236</c:v>
                </c:pt>
                <c:pt idx="208">
                  <c:v>236</c:v>
                </c:pt>
                <c:pt idx="209">
                  <c:v>236</c:v>
                </c:pt>
                <c:pt idx="210">
                  <c:v>236</c:v>
                </c:pt>
                <c:pt idx="211">
                  <c:v>236</c:v>
                </c:pt>
                <c:pt idx="212">
                  <c:v>236</c:v>
                </c:pt>
                <c:pt idx="213">
                  <c:v>236</c:v>
                </c:pt>
                <c:pt idx="214">
                  <c:v>236</c:v>
                </c:pt>
                <c:pt idx="215">
                  <c:v>236</c:v>
                </c:pt>
                <c:pt idx="216">
                  <c:v>236</c:v>
                </c:pt>
                <c:pt idx="217">
                  <c:v>230</c:v>
                </c:pt>
                <c:pt idx="218">
                  <c:v>230</c:v>
                </c:pt>
                <c:pt idx="219">
                  <c:v>230</c:v>
                </c:pt>
                <c:pt idx="220">
                  <c:v>23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4B8-4BAD-B6F2-2E2A69C4DC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2682584"/>
        <c:axId val="792679632"/>
      </c:scatterChart>
      <c:valAx>
        <c:axId val="792682584"/>
        <c:scaling>
          <c:orientation val="minMax"/>
          <c:min val="4412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92679632"/>
        <c:crosses val="autoZero"/>
        <c:crossBetween val="midCat"/>
      </c:valAx>
      <c:valAx>
        <c:axId val="79267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/>
                  <a:t>Poče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92682584"/>
        <c:crossesAt val="44124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4808568288073745"/>
          <c:y val="0.94883979776171468"/>
          <c:w val="0.41453927769605836"/>
          <c:h val="5.04212356551729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200"/>
              <a:t>Vývoj počtu zasažených</a:t>
            </a:r>
            <a:r>
              <a:rPr lang="cs-CZ" sz="1200" baseline="0"/>
              <a:t> zařízení, nakažených klientů a pracovníků v souvislosti s nemocí Covid-19 ve Zlínském kraji od září 2021</a:t>
            </a:r>
            <a:endParaRPr lang="cs-CZ" sz="12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10461303466493185"/>
          <c:y val="0.11410999168221472"/>
          <c:w val="0.84303114919434174"/>
          <c:h val="0.78147304201205003"/>
        </c:manualLayout>
      </c:layout>
      <c:scatterChart>
        <c:scatterStyle val="lineMarker"/>
        <c:varyColors val="0"/>
        <c:ser>
          <c:idx val="0"/>
          <c:order val="0"/>
          <c:tx>
            <c:strRef>
              <c:f>Tabulky!$B$6</c:f>
              <c:strCache>
                <c:ptCount val="1"/>
                <c:pt idx="0">
                  <c:v>Zařízení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Tabulky!$A$229:$A$239</c:f>
              <c:numCache>
                <c:formatCode>m/d/yyyy</c:formatCode>
                <c:ptCount val="11"/>
                <c:pt idx="0">
                  <c:v>44454</c:v>
                </c:pt>
                <c:pt idx="1">
                  <c:v>44460</c:v>
                </c:pt>
                <c:pt idx="2">
                  <c:v>44474</c:v>
                </c:pt>
                <c:pt idx="3">
                  <c:v>44481</c:v>
                </c:pt>
                <c:pt idx="4">
                  <c:v>44488</c:v>
                </c:pt>
                <c:pt idx="5">
                  <c:v>44495</c:v>
                </c:pt>
                <c:pt idx="6">
                  <c:v>44502</c:v>
                </c:pt>
                <c:pt idx="7">
                  <c:v>44509</c:v>
                </c:pt>
                <c:pt idx="8">
                  <c:v>44516</c:v>
                </c:pt>
                <c:pt idx="9">
                  <c:v>44523</c:v>
                </c:pt>
              </c:numCache>
            </c:numRef>
          </c:xVal>
          <c:yVal>
            <c:numRef>
              <c:f>Tabulky!$C$229:$C$239</c:f>
              <c:numCache>
                <c:formatCode>General</c:formatCode>
                <c:ptCount val="11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6</c:v>
                </c:pt>
                <c:pt idx="4">
                  <c:v>4</c:v>
                </c:pt>
                <c:pt idx="5">
                  <c:v>7</c:v>
                </c:pt>
                <c:pt idx="6">
                  <c:v>19</c:v>
                </c:pt>
                <c:pt idx="7">
                  <c:v>32</c:v>
                </c:pt>
                <c:pt idx="8">
                  <c:v>49</c:v>
                </c:pt>
                <c:pt idx="9">
                  <c:v>5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4F7-446E-8899-D3FAA978E97C}"/>
            </c:ext>
          </c:extLst>
        </c:ser>
        <c:ser>
          <c:idx val="1"/>
          <c:order val="1"/>
          <c:tx>
            <c:strRef>
              <c:f>Tabulky!$D$6</c:f>
              <c:strCache>
                <c:ptCount val="1"/>
                <c:pt idx="0">
                  <c:v>Klienti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Tabulky!$A$229:$A$239</c:f>
              <c:numCache>
                <c:formatCode>m/d/yyyy</c:formatCode>
                <c:ptCount val="11"/>
                <c:pt idx="0">
                  <c:v>44454</c:v>
                </c:pt>
                <c:pt idx="1">
                  <c:v>44460</c:v>
                </c:pt>
                <c:pt idx="2">
                  <c:v>44474</c:v>
                </c:pt>
                <c:pt idx="3">
                  <c:v>44481</c:v>
                </c:pt>
                <c:pt idx="4">
                  <c:v>44488</c:v>
                </c:pt>
                <c:pt idx="5">
                  <c:v>44495</c:v>
                </c:pt>
                <c:pt idx="6">
                  <c:v>44502</c:v>
                </c:pt>
                <c:pt idx="7">
                  <c:v>44509</c:v>
                </c:pt>
                <c:pt idx="8">
                  <c:v>44516</c:v>
                </c:pt>
                <c:pt idx="9">
                  <c:v>44523</c:v>
                </c:pt>
              </c:numCache>
            </c:numRef>
          </c:xVal>
          <c:yVal>
            <c:numRef>
              <c:f>Tabulky!$E$229:$E$239</c:f>
              <c:numCache>
                <c:formatCode>General</c:formatCode>
                <c:ptCount val="11"/>
                <c:pt idx="0">
                  <c:v>17</c:v>
                </c:pt>
                <c:pt idx="1">
                  <c:v>14</c:v>
                </c:pt>
                <c:pt idx="2">
                  <c:v>2</c:v>
                </c:pt>
                <c:pt idx="3">
                  <c:v>13</c:v>
                </c:pt>
                <c:pt idx="4">
                  <c:v>11</c:v>
                </c:pt>
                <c:pt idx="5">
                  <c:v>1</c:v>
                </c:pt>
                <c:pt idx="6">
                  <c:v>6</c:v>
                </c:pt>
                <c:pt idx="7">
                  <c:v>17</c:v>
                </c:pt>
                <c:pt idx="8">
                  <c:v>19</c:v>
                </c:pt>
                <c:pt idx="9">
                  <c:v>4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4F7-446E-8899-D3FAA978E97C}"/>
            </c:ext>
          </c:extLst>
        </c:ser>
        <c:ser>
          <c:idx val="2"/>
          <c:order val="2"/>
          <c:tx>
            <c:strRef>
              <c:f>Tabulky!$F$6</c:f>
              <c:strCache>
                <c:ptCount val="1"/>
                <c:pt idx="0">
                  <c:v>Pracovníci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Tabulky!$A$229:$A$239</c:f>
              <c:numCache>
                <c:formatCode>m/d/yyyy</c:formatCode>
                <c:ptCount val="11"/>
                <c:pt idx="0">
                  <c:v>44454</c:v>
                </c:pt>
                <c:pt idx="1">
                  <c:v>44460</c:v>
                </c:pt>
                <c:pt idx="2">
                  <c:v>44474</c:v>
                </c:pt>
                <c:pt idx="3">
                  <c:v>44481</c:v>
                </c:pt>
                <c:pt idx="4">
                  <c:v>44488</c:v>
                </c:pt>
                <c:pt idx="5">
                  <c:v>44495</c:v>
                </c:pt>
                <c:pt idx="6">
                  <c:v>44502</c:v>
                </c:pt>
                <c:pt idx="7">
                  <c:v>44509</c:v>
                </c:pt>
                <c:pt idx="8">
                  <c:v>44516</c:v>
                </c:pt>
                <c:pt idx="9">
                  <c:v>44523</c:v>
                </c:pt>
              </c:numCache>
            </c:numRef>
          </c:xVal>
          <c:yVal>
            <c:numRef>
              <c:f>Tabulky!$G$229:$G$239</c:f>
              <c:numCache>
                <c:formatCode>General</c:formatCode>
                <c:ptCount val="11"/>
                <c:pt idx="0">
                  <c:v>10</c:v>
                </c:pt>
                <c:pt idx="1">
                  <c:v>9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  <c:pt idx="5">
                  <c:v>8</c:v>
                </c:pt>
                <c:pt idx="6">
                  <c:v>14</c:v>
                </c:pt>
                <c:pt idx="7">
                  <c:v>27</c:v>
                </c:pt>
                <c:pt idx="8">
                  <c:v>60</c:v>
                </c:pt>
                <c:pt idx="9">
                  <c:v>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F4F7-446E-8899-D3FAA978E97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792682584"/>
        <c:axId val="792679632"/>
      </c:scatterChart>
      <c:valAx>
        <c:axId val="792682584"/>
        <c:scaling>
          <c:orientation val="minMax"/>
          <c:min val="4445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92679632"/>
        <c:crosses val="autoZero"/>
        <c:crossBetween val="midCat"/>
      </c:valAx>
      <c:valAx>
        <c:axId val="792679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/>
                  <a:t>Poče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92682584"/>
        <c:crossesAt val="44124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4808568288073745"/>
          <c:y val="0.94883979776171468"/>
          <c:w val="0.41453927769605836"/>
          <c:h val="5.04212356551729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49B693-0224-4462-ABCA-F9A8F1AB2C32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1A8391-AEEE-4BD7-9637-00D7868B75A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42048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372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6.svg"/><Relationship Id="rId4" Type="http://schemas.openxmlformats.org/officeDocument/2006/relationships/image" Target="../media/image8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6.svg"/><Relationship Id="rId4" Type="http://schemas.openxmlformats.org/officeDocument/2006/relationships/image" Target="../media/image8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6.svg"/><Relationship Id="rId4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4.sv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6.svg"/><Relationship Id="rId4" Type="http://schemas.openxmlformats.org/officeDocument/2006/relationships/image" Target="../media/image8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/>
              <a:t>Klepnutím lze upravit styl předlohy podnadpisů.</a:t>
            </a:r>
          </a:p>
        </p:txBody>
      </p:sp>
    </p:spTree>
    <p:extLst>
      <p:ext uri="{BB962C8B-B14F-4D97-AF65-F5344CB8AC3E}">
        <p14:creationId xmlns:p14="http://schemas.microsoft.com/office/powerpoint/2010/main" val="2698787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3535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904818" y="1484313"/>
            <a:ext cx="2662767" cy="4392612"/>
          </a:xfrm>
        </p:spPr>
        <p:txBody>
          <a:bodyPr vert="eaVert"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912284" y="1484313"/>
            <a:ext cx="7789333" cy="4392612"/>
          </a:xfr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25618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AAE9EFC-0716-4342-BB38-B34482084B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7CCDD9-5986-470D-BC78-255D29432B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A720D25-F830-46A8-9990-E76F25CE2A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84-797F-4419-A3F0-918F66F72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230E6D1-C4AA-4C3F-BD7C-CC4D56DC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887251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2AAA3A-3701-4365-9FAA-A1BA9C3A2A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A08CCD3-0038-496E-B810-7DC3620CD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EFC2B1D-D645-414D-9FDE-B67C41A6A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9C18106-C0DD-4434-BBC1-41FBD4A0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B6B1748-5F90-4376-96DD-DA44F538F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2913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3FFEC1-36EB-495A-BD5C-AD4C66F56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A826251-AA67-49E1-8090-D79785792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A9B1B0A-5F08-48CE-8FD4-30C046B66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08FE227-AF45-4DAD-AA46-2784050D3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574D27-EF37-47D2-B756-BF9421640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487669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AE9BE6-CBAB-40B7-B682-6639F7E86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868E5BB-18CB-45C2-B16D-59CA2AC13D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39F3FE0-D6C5-4FB6-A7D7-624460188E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FBA1C3D-B8CD-4DDD-B40F-ADA4A4FA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973C03-CB1D-4CC5-B053-6D15D404D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E5306FF-AEA8-4D7A-8ADF-A45FB33D0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81825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77A8537-7661-4F79-BC62-A092F58E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FC485D-D882-4287-9B86-868C335D8D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0C28334-7BB3-4D92-9504-795AD02941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2DA3BD4-0ECC-4D25-9C2C-EADB80435B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3E01AEB-F792-47B8-8DBF-8F9028A760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2112F8A-0780-489A-AEB8-2A028135D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811B154-16AB-454F-B295-9A8A65235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248FA6C3-5E2E-4C9E-B402-E6BDA8564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61089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B438A9-4D40-4F15-BD75-E5444D187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BA3137D-90F2-4DFB-A594-764082160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6EA89F8-34F6-418A-8437-E235716CC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6528A22-A7F1-4348-AB76-661F99D4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52158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0EF6457B-26B0-4DC3-9CEB-1485EE67D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DABF33C-A8C1-4249-8E55-86A905A2F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0A725C4F-D810-4A8E-ABB1-5DA56968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03414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3D8323-2C22-4E31-AD20-CBB1A34A5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A44C7F-5790-4CE1-9DC3-EC46CAB9A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925626D-EBC3-4C24-9A6C-2C267704A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A3A89FF-11F2-4BBE-BF2D-469E0B63DE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C4F2D9-43FA-40F1-AC4E-BE1F31986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C273634-09AF-449B-8B13-FEA22BE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780298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312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827184-C101-4063-A9E5-C2CED475D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C45710C-4A4A-4529-9D09-7470F8ED0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47BBEF5-C0E3-4F34-8A08-A864475DD2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56E7FF5-744D-4406-80FA-7A1CCFD63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19E8F2-C839-4E3F-95F2-1730533D7A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4B72CD6-5975-4043-A67A-B885A37A7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68672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18E7B-9546-4194-9154-7B06CBE23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A48AB81-DC11-4569-A4F8-32B552C69B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9B5E4F-9A1F-42AB-A87D-E5852E80C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157BEBE-5933-4A99-B8D3-90C3B5DC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F2C8BE-C3DA-402C-B8CD-B671B122B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07723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60D60001-CC4F-40D5-8A7A-D400211457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3743E10-25E4-4EB9-BB88-B505059F0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2682C3-B6ED-40BB-A5AC-F91854A7E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641D6F-AADB-4C8F-82F2-914C5E74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C6EBE3-B8F5-4EE3-95D0-645F4F2B4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82065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596649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71849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762198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116152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420117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98589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677253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05477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278808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60747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36400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6080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31612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81441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733624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25957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6885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7104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912285" y="2060575"/>
            <a:ext cx="5226049" cy="3816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341533" y="2060575"/>
            <a:ext cx="5226051" cy="38163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91142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540181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29127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656916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268648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26765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</p:spTree>
    <p:extLst>
      <p:ext uri="{BB962C8B-B14F-4D97-AF65-F5344CB8AC3E}">
        <p14:creationId xmlns:p14="http://schemas.microsoft.com/office/powerpoint/2010/main" val="289013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925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56286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626806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2285" y="1484313"/>
            <a:ext cx="106553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 předlohy nadpisů.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5" y="2060575"/>
            <a:ext cx="10655300" cy="38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předlohy textu.</a:t>
            </a:r>
          </a:p>
        </p:txBody>
      </p:sp>
      <p:pic>
        <p:nvPicPr>
          <p:cNvPr id="1031" name="Picture 7" descr="hlavicka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1"/>
            <a:ext cx="12192000" cy="1223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43239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353DFE7B-4561-47A9-8B18-5A599FE17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E84B56D-92A6-4C81-A0C7-4160EA25A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F32F0E8-9697-4AE9-A3CF-2D810FF7F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53933FD-AF24-4CBA-9095-EAB36D5217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8E84B4-7AA1-44E5-ACBE-5F1359A27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8325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A4D5B4-4F27-4EEE-86D7-642292AEB753}" type="datetimeFigureOut">
              <a:rPr lang="cs-CZ" smtClean="0"/>
              <a:t>29.11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D7A57A-32A3-42C5-B3E4-1D01813B2D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17512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556666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chart" Target="../charts/char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38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kr-zlinsky.cz/informace-o-koronaviru-covid-19-cl-4886.html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hyperlink" Target="https://www.kr-zlinsky.cz/informace-o-koronaviru-covid-19-cl-4886.html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38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268760"/>
            <a:ext cx="12144672" cy="5544616"/>
          </a:xfrm>
        </p:spPr>
        <p:txBody>
          <a:bodyPr/>
          <a:lstStyle/>
          <a:p>
            <a:pPr algn="ctr"/>
            <a:br>
              <a:rPr lang="cs-CZ" sz="5400" dirty="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cs-CZ" sz="5400" dirty="0">
                <a:solidFill>
                  <a:schemeClr val="accent2"/>
                </a:solidFill>
                <a:latin typeface="Arial" panose="020B0604020202020204" pitchFamily="34" charset="0"/>
              </a:rPr>
              <a:t>23. porada hejtmana</a:t>
            </a:r>
            <a:br>
              <a:rPr lang="cs-CZ" sz="5400" dirty="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cs-CZ" sz="5400" dirty="0">
                <a:solidFill>
                  <a:schemeClr val="accent2"/>
                </a:solidFill>
                <a:latin typeface="Arial" panose="020B0604020202020204" pitchFamily="34" charset="0"/>
              </a:rPr>
              <a:t> se starosty ORP ZK</a:t>
            </a:r>
            <a:br>
              <a:rPr lang="cs-CZ" sz="2800" dirty="0">
                <a:solidFill>
                  <a:schemeClr val="accent2"/>
                </a:solidFill>
                <a:latin typeface="Arial" panose="020B0604020202020204" pitchFamily="34" charset="0"/>
              </a:rPr>
            </a:br>
            <a:br>
              <a:rPr lang="cs-CZ" sz="2800" dirty="0">
                <a:solidFill>
                  <a:schemeClr val="accent2"/>
                </a:solidFill>
                <a:latin typeface="Arial" panose="020B0604020202020204" pitchFamily="34" charset="0"/>
              </a:rPr>
            </a:br>
            <a:br>
              <a:rPr lang="cs-CZ" sz="28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br>
              <a:rPr lang="cs-CZ" sz="28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  <a:t>Zlín</a:t>
            </a:r>
            <a:b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  <a:t>12:00 h </a:t>
            </a:r>
            <a:b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  <a:t>29. listopadu 2021</a:t>
            </a:r>
            <a:b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  <a:t>místnost 1120</a:t>
            </a:r>
            <a:b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  <a:t>Ing. Robert Pekaj</a:t>
            </a:r>
            <a:b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  <a:t>tajemník KŠ ZK </a:t>
            </a:r>
            <a:br>
              <a:rPr lang="cs-CZ" sz="16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br>
              <a:rPr lang="cs-CZ" sz="2800" dirty="0">
                <a:solidFill>
                  <a:schemeClr val="tx1"/>
                </a:solidFill>
                <a:latin typeface="Arial" panose="020B0604020202020204" pitchFamily="34" charset="0"/>
              </a:rPr>
            </a:br>
            <a:endParaRPr lang="cs-CZ" sz="2800" b="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21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7" y="0"/>
            <a:ext cx="7875517" cy="576000"/>
          </a:xfrm>
        </p:spPr>
        <p:txBody>
          <a:bodyPr/>
          <a:lstStyle/>
          <a:p>
            <a:r>
              <a:rPr lang="cs-CZ" sz="1800" dirty="0"/>
              <a:t>Predikce kumulativního počtu nových případů na JIP (od 1. 9. 2021)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4" name="TextBox 14">
            <a:extLst>
              <a:ext uri="{FF2B5EF4-FFF2-40B4-BE49-F238E27FC236}">
                <a16:creationId xmlns:a16="http://schemas.microsoft.com/office/drawing/2014/main" id="{49BB1F22-BFC8-45B7-97DF-9727BFB8A6AC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63422" y="3518139"/>
            <a:ext cx="35381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ý počet pacientů – kumulativně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6682371" y="740771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89273" y="743434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 základě modelů při parametrech nemoci z období 10/2021–11/2021 pro různé scénáře</a:t>
            </a:r>
            <a:endParaRPr kumimoji="0" lang="cs-CZ" sz="11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1" name="Chart 11">
            <a:extLst>
              <a:ext uri="{FF2B5EF4-FFF2-40B4-BE49-F238E27FC236}">
                <a16:creationId xmlns:a16="http://schemas.microsoft.com/office/drawing/2014/main" id="{8A7B96FD-222F-4129-B4C2-2EFAD9B647AA}"/>
              </a:ext>
            </a:extLst>
          </p:cNvPr>
          <p:cNvGraphicFramePr/>
          <p:nvPr/>
        </p:nvGraphicFramePr>
        <p:xfrm>
          <a:off x="386622" y="1640324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7" name="TextBox 9">
            <a:extLst>
              <a:ext uri="{FF2B5EF4-FFF2-40B4-BE49-F238E27FC236}">
                <a16:creationId xmlns:a16="http://schemas.microsoft.com/office/drawing/2014/main" id="{02F44491-B51E-4114-9296-2F1B73D2CFE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099D3C6-BF99-4CCA-8233-17397AAD0AF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29" name="Skupina 28">
              <a:extLst>
                <a:ext uri="{FF2B5EF4-FFF2-40B4-BE49-F238E27FC236}">
                  <a16:creationId xmlns:a16="http://schemas.microsoft.com/office/drawing/2014/main" id="{7A271B92-B75C-4D2D-9639-44135C12DAEA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1" name="Přímá spojnice 30">
                <a:extLst>
                  <a:ext uri="{FF2B5EF4-FFF2-40B4-BE49-F238E27FC236}">
                    <a16:creationId xmlns:a16="http://schemas.microsoft.com/office/drawing/2014/main" id="{E52A91E3-DF13-461F-B0AC-235D030947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38" name="Přímá spojnice 37">
                <a:extLst>
                  <a:ext uri="{FF2B5EF4-FFF2-40B4-BE49-F238E27FC236}">
                    <a16:creationId xmlns:a16="http://schemas.microsoft.com/office/drawing/2014/main" id="{ABBABFFA-0961-4B68-BFB2-978D04634F2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39" name="Obdélník 38">
                <a:extLst>
                  <a:ext uri="{FF2B5EF4-FFF2-40B4-BE49-F238E27FC236}">
                    <a16:creationId xmlns:a16="http://schemas.microsoft.com/office/drawing/2014/main" id="{A50D9F8A-9CC5-4DA2-BF4E-EA1D5093065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TextovéPole 28">
                <a:extLst>
                  <a:ext uri="{FF2B5EF4-FFF2-40B4-BE49-F238E27FC236}">
                    <a16:creationId xmlns:a16="http://schemas.microsoft.com/office/drawing/2014/main" id="{18D652CE-3B4B-440E-B83E-E7C051DBA724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0" name="Přímá spojnice 29">
              <a:extLst>
                <a:ext uri="{FF2B5EF4-FFF2-40B4-BE49-F238E27FC236}">
                  <a16:creationId xmlns:a16="http://schemas.microsoft.com/office/drawing/2014/main" id="{5ABAD116-07CF-41FB-8B39-E67C9E268846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278034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261257"/>
            <a:ext cx="10515600" cy="1362270"/>
          </a:xfrm>
        </p:spPr>
        <p:txBody>
          <a:bodyPr>
            <a:normAutofit fontScale="90000"/>
          </a:bodyPr>
          <a:lstStyle/>
          <a:p>
            <a:pPr lvl="0" algn="r"/>
            <a:br>
              <a:rPr lang="cs-CZ" sz="1800" dirty="0"/>
            </a:br>
            <a:r>
              <a:rPr lang="cs-CZ" sz="1800" b="1" dirty="0">
                <a:solidFill>
                  <a:srgbClr val="0070C0"/>
                </a:solidFill>
              </a:rPr>
              <a:t>Zařízení – 53</a:t>
            </a:r>
            <a:br>
              <a:rPr lang="cs-CZ" sz="1800" b="1" dirty="0">
                <a:solidFill>
                  <a:srgbClr val="0070C0"/>
                </a:solidFill>
              </a:rPr>
            </a:br>
            <a:r>
              <a:rPr lang="cs-CZ" sz="1800" b="1" dirty="0">
                <a:solidFill>
                  <a:srgbClr val="0070C0"/>
                </a:solidFill>
              </a:rPr>
              <a:t>Pozitivní klienti – 47</a:t>
            </a:r>
            <a:br>
              <a:rPr lang="cs-CZ" sz="1800" b="1" dirty="0">
                <a:solidFill>
                  <a:srgbClr val="0070C0"/>
                </a:solidFill>
              </a:rPr>
            </a:br>
            <a:r>
              <a:rPr lang="cs-CZ" sz="1800" b="1" dirty="0">
                <a:solidFill>
                  <a:srgbClr val="0070C0"/>
                </a:solidFill>
              </a:rPr>
              <a:t>Pozitivní pracovníci – 79</a:t>
            </a:r>
            <a:br>
              <a:rPr lang="cs-CZ" sz="1800" b="1" dirty="0">
                <a:solidFill>
                  <a:srgbClr val="0070C0"/>
                </a:solidFill>
              </a:rPr>
            </a:br>
            <a:r>
              <a:rPr lang="cs-CZ" sz="1800" b="1" dirty="0">
                <a:solidFill>
                  <a:srgbClr val="0070C0"/>
                </a:solidFill>
              </a:rPr>
              <a:t>Úmrtí – nesledováno</a:t>
            </a:r>
            <a:br>
              <a:rPr lang="cs-CZ" sz="1800" b="1" dirty="0">
                <a:solidFill>
                  <a:srgbClr val="0070C0"/>
                </a:solidFill>
              </a:rPr>
            </a:br>
            <a:r>
              <a:rPr lang="cs-CZ" sz="1200" i="1" dirty="0"/>
              <a:t>Data hlášena poskytovateli pobytových služeb na základě dotazníku KÚZK</a:t>
            </a:r>
          </a:p>
        </p:txBody>
      </p:sp>
      <p:graphicFrame>
        <p:nvGraphicFramePr>
          <p:cNvPr id="6" name="Zástupný symbol pro obsah 5"/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Obráze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404644"/>
            <a:ext cx="7920880" cy="536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3186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ituace v pobytových SSL</a:t>
            </a:r>
          </a:p>
        </p:txBody>
      </p:sp>
      <p:graphicFrame>
        <p:nvGraphicFramePr>
          <p:cNvPr id="5" name="Zástupný symbol pro obsah 4"/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660035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15035"/>
          </a:xfrm>
        </p:spPr>
        <p:txBody>
          <a:bodyPr/>
          <a:lstStyle/>
          <a:p>
            <a:r>
              <a:rPr lang="cs-CZ" dirty="0"/>
              <a:t>Situace v pobytových zařízeních SSL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438102"/>
            <a:ext cx="10515600" cy="473886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cs-CZ" b="1" dirty="0">
                <a:solidFill>
                  <a:srgbClr val="0070C0"/>
                </a:solidFill>
              </a:rPr>
              <a:t>Krizová personální situace</a:t>
            </a:r>
            <a:r>
              <a:rPr lang="cs-CZ" dirty="0">
                <a:solidFill>
                  <a:srgbClr val="0070C0"/>
                </a:solidFill>
              </a:rPr>
              <a:t>:</a:t>
            </a:r>
          </a:p>
          <a:p>
            <a:r>
              <a:rPr lang="cs-CZ" dirty="0">
                <a:solidFill>
                  <a:srgbClr val="FF0000"/>
                </a:solidFill>
              </a:rPr>
              <a:t>Domov pro seniory Rožnov p. Radhoštěm</a:t>
            </a:r>
          </a:p>
          <a:p>
            <a:r>
              <a:rPr lang="cs-CZ" dirty="0">
                <a:solidFill>
                  <a:srgbClr val="FF0000"/>
                </a:solidFill>
              </a:rPr>
              <a:t>Domov pro seniory Jasenka Vsetín</a:t>
            </a:r>
          </a:p>
          <a:p>
            <a:r>
              <a:rPr lang="cs-CZ" dirty="0">
                <a:solidFill>
                  <a:srgbClr val="0070C0"/>
                </a:solidFill>
              </a:rPr>
              <a:t>celkově situace napjatá výpadkem pracovníků z důvodu zajištění péče o děti, karantén, jiné pracovní neschopnosti </a:t>
            </a:r>
          </a:p>
          <a:p>
            <a:pPr marL="0" indent="0">
              <a:buNone/>
            </a:pPr>
            <a:endParaRPr lang="cs-CZ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cs-CZ" b="1" dirty="0">
                <a:solidFill>
                  <a:srgbClr val="0070C0"/>
                </a:solidFill>
              </a:rPr>
              <a:t>Preventivní testování pracovníků v SSL:</a:t>
            </a:r>
          </a:p>
          <a:p>
            <a:pPr marL="0" indent="0">
              <a:buNone/>
            </a:pPr>
            <a:r>
              <a:rPr lang="cs-CZ" dirty="0">
                <a:solidFill>
                  <a:srgbClr val="0070C0"/>
                </a:solidFill>
              </a:rPr>
              <a:t>Zájem o využití 11 500 testů ZK pro </a:t>
            </a:r>
            <a:r>
              <a:rPr lang="cs-CZ" dirty="0" err="1">
                <a:solidFill>
                  <a:srgbClr val="0070C0"/>
                </a:solidFill>
              </a:rPr>
              <a:t>p.o</a:t>
            </a:r>
            <a:r>
              <a:rPr lang="cs-CZ" dirty="0">
                <a:solidFill>
                  <a:srgbClr val="0070C0"/>
                </a:solidFill>
              </a:rPr>
              <a:t>. ZK.</a:t>
            </a:r>
          </a:p>
          <a:p>
            <a:pPr marL="0" indent="0">
              <a:buNone/>
            </a:pPr>
            <a:endParaRPr lang="cs-CZ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cs-CZ" dirty="0">
                <a:solidFill>
                  <a:srgbClr val="0070C0"/>
                </a:solidFill>
              </a:rPr>
              <a:t>Asociace poskytovatelů SSL ČR dělá </a:t>
            </a:r>
            <a:r>
              <a:rPr lang="cs-CZ" b="1" dirty="0">
                <a:solidFill>
                  <a:srgbClr val="0070C0"/>
                </a:solidFill>
              </a:rPr>
              <a:t>průzkum ve věci povinného očkování zaměstnanců v sociálních službách</a:t>
            </a:r>
            <a:r>
              <a:rPr lang="cs-CZ" dirty="0">
                <a:solidFill>
                  <a:srgbClr val="0070C0"/>
                </a:solidFill>
              </a:rPr>
              <a:t>.</a:t>
            </a:r>
          </a:p>
          <a:p>
            <a:pPr marL="0" indent="0">
              <a:buNone/>
            </a:pPr>
            <a:endParaRPr lang="cs-CZ" sz="18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8642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223792" y="123395"/>
            <a:ext cx="11881320" cy="1066596"/>
          </a:xfrm>
        </p:spPr>
        <p:txBody>
          <a:bodyPr/>
          <a:lstStyle/>
          <a:p>
            <a:r>
              <a:rPr lang="cs-CZ" sz="1600" dirty="0">
                <a:solidFill>
                  <a:schemeClr val="tx1"/>
                </a:solidFill>
              </a:rPr>
              <a:t>Informace o aktuální EPI situaci </a:t>
            </a:r>
            <a:br>
              <a:rPr lang="cs-CZ" sz="1600" dirty="0">
                <a:solidFill>
                  <a:schemeClr val="tx1"/>
                </a:solidFill>
              </a:rPr>
            </a:br>
            <a:br>
              <a:rPr lang="cs-CZ" sz="1600" dirty="0"/>
            </a:br>
            <a:r>
              <a:rPr lang="cs-CZ" sz="1600" dirty="0"/>
              <a:t>MUDr. Eva Sedláčková, Ph.D.</a:t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7536160" y="548680"/>
            <a:ext cx="4536504" cy="641310"/>
          </a:xfrm>
          <a:solidFill>
            <a:srgbClr val="F3FBA3"/>
          </a:solidFill>
        </p:spPr>
        <p:txBody>
          <a:bodyPr/>
          <a:lstStyle/>
          <a:p>
            <a:pPr marL="457200" lvl="1" indent="0">
              <a:buNone/>
            </a:pPr>
            <a:r>
              <a:rPr lang="cs-CZ" sz="1200" b="1" dirty="0">
                <a:solidFill>
                  <a:srgbClr val="FF0000"/>
                </a:solidFill>
              </a:rPr>
              <a:t>Řešené problémy území, predikce vývoje a opatření, Kontrolní činnost</a:t>
            </a:r>
          </a:p>
          <a:p>
            <a:pPr>
              <a:buFont typeface="Arial" panose="020B0604020202020204" pitchFamily="34" charset="0"/>
              <a:buChar char="•"/>
            </a:pPr>
            <a:endParaRPr lang="cs-CZ" sz="1600" b="1" dirty="0"/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30" y="3871659"/>
            <a:ext cx="11957334" cy="2720327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30" y="1309817"/>
            <a:ext cx="11957334" cy="2442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109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64757" y="1484313"/>
            <a:ext cx="11862486" cy="576262"/>
          </a:xfrm>
        </p:spPr>
        <p:txBody>
          <a:bodyPr/>
          <a:lstStyle/>
          <a:p>
            <a:r>
              <a:rPr lang="cs-CZ" dirty="0"/>
              <a:t>KHS ZK – kompetence a povinnosti starosty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71849" y="2060575"/>
            <a:ext cx="11664778" cy="3816350"/>
          </a:xfrm>
        </p:spPr>
        <p:txBody>
          <a:bodyPr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cs-CZ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 18 odst. 3  </a:t>
            </a:r>
            <a:r>
              <a:rPr lang="cs-CZ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.č</a:t>
            </a:r>
            <a:r>
              <a:rPr lang="cs-CZ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240/2000 Sb.</a:t>
            </a:r>
            <a:endParaRPr lang="cs-CZ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cs-CZ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rosta obce s rozšířenou působností dále</a:t>
            </a:r>
            <a:endParaRPr lang="cs-CZ" sz="1800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ajišťuje za krizové situace </a:t>
            </a:r>
            <a:r>
              <a:rPr lang="cs-CZ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edení stanovených krizových opatření v podmínkách správního obvodu obce s rozšířenou působností</a:t>
            </a:r>
            <a:r>
              <a:rPr lang="cs-CZ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 správní úřady se sídlem na území správního obvodu obce s rozšířenou působností a právnické a podnikající fyzické osoby jsou povinny stanovená krizová opatření splnit.</a:t>
            </a:r>
            <a:endParaRPr lang="cs-CZ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cs-CZ" b="1" dirty="0"/>
              <a:t>K </a:t>
            </a:r>
            <a:r>
              <a:rPr lang="cs-CZ" b="1" dirty="0">
                <a:solidFill>
                  <a:srgbClr val="FF0000"/>
                </a:solidFill>
              </a:rPr>
              <a:t>řešení přestupků </a:t>
            </a:r>
            <a:r>
              <a:rPr lang="cs-CZ" b="1" dirty="0"/>
              <a:t>pro porušení veškerých krizových opatření nařízených Vládou ČR podle zákona č. 240/2000 Sb., o krizovém řízení, ve znění pozdějších předpisů, je </a:t>
            </a:r>
            <a:r>
              <a:rPr lang="cs-CZ" b="1" dirty="0">
                <a:solidFill>
                  <a:srgbClr val="FF0000"/>
                </a:solidFill>
              </a:rPr>
              <a:t>u fyzických osob věcně příslušná obec s rozšířenou působností</a:t>
            </a:r>
            <a:r>
              <a:rPr lang="cs-CZ" b="1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46353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6888088" y="476672"/>
            <a:ext cx="3168352" cy="360039"/>
          </a:xfrm>
        </p:spPr>
        <p:txBody>
          <a:bodyPr/>
          <a:lstStyle/>
          <a:p>
            <a:r>
              <a:rPr lang="cs-CZ" dirty="0">
                <a:solidFill>
                  <a:schemeClr val="tx1"/>
                </a:solidFill>
              </a:rPr>
              <a:t>Program jednání: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1268760"/>
            <a:ext cx="12144672" cy="6408712"/>
          </a:xfrm>
        </p:spPr>
        <p:txBody>
          <a:bodyPr/>
          <a:lstStyle/>
          <a:p>
            <a:pPr marL="0" indent="0" algn="just">
              <a:lnSpc>
                <a:spcPct val="90000"/>
              </a:lnSpc>
            </a:pPr>
            <a:endParaRPr lang="cs-CZ" sz="2400" b="1" dirty="0"/>
          </a:p>
          <a:p>
            <a:pPr marL="0" indent="0" algn="just">
              <a:lnSpc>
                <a:spcPct val="90000"/>
              </a:lnSpc>
            </a:pPr>
            <a:r>
              <a:rPr lang="cs-CZ" sz="2400" b="1" dirty="0"/>
              <a:t>Úvod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/>
              <a:t>Informace o aktuální EPI situaci a predikce vývoje ve ZK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/>
              <a:t>Informace o situaci v nemocnicích ZK</a:t>
            </a:r>
          </a:p>
          <a:p>
            <a:pPr marL="457200" indent="-457200" algn="just">
              <a:lnSpc>
                <a:spcPct val="90000"/>
              </a:lnSpc>
              <a:buAutoNum type="arabicPeriod"/>
            </a:pPr>
            <a:r>
              <a:rPr lang="cs-CZ" sz="2400" b="1" dirty="0"/>
              <a:t>Projednání adekvátnosti opatření na území ZK</a:t>
            </a:r>
          </a:p>
          <a:p>
            <a:pPr marL="0" indent="0" algn="just">
              <a:lnSpc>
                <a:spcPct val="90000"/>
              </a:lnSpc>
            </a:pPr>
            <a:endParaRPr lang="cs-CZ" sz="2400" b="1" dirty="0"/>
          </a:p>
          <a:p>
            <a:pPr marL="0" indent="0" algn="just">
              <a:lnSpc>
                <a:spcPct val="90000"/>
              </a:lnSpc>
            </a:pPr>
            <a:r>
              <a:rPr lang="cs-CZ" sz="2400" b="1" dirty="0"/>
              <a:t>Závěr</a:t>
            </a:r>
          </a:p>
          <a:p>
            <a:pPr marL="0" indent="0" algn="just">
              <a:lnSpc>
                <a:spcPct val="90000"/>
              </a:lnSpc>
            </a:pPr>
            <a:endParaRPr lang="cs-CZ" sz="2400" b="1" dirty="0"/>
          </a:p>
        </p:txBody>
      </p:sp>
    </p:spTree>
    <p:extLst>
      <p:ext uri="{BB962C8B-B14F-4D97-AF65-F5344CB8AC3E}">
        <p14:creationId xmlns:p14="http://schemas.microsoft.com/office/powerpoint/2010/main" val="391837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9336" y="1279131"/>
            <a:ext cx="11953328" cy="288032"/>
          </a:xfrm>
        </p:spPr>
        <p:txBody>
          <a:bodyPr/>
          <a:lstStyle/>
          <a:p>
            <a:r>
              <a:rPr lang="cs-CZ" dirty="0"/>
              <a:t>Úvod: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7328" y="1700808"/>
            <a:ext cx="12097344" cy="4608512"/>
          </a:xfrm>
          <a:solidFill>
            <a:srgbClr val="F3FBA3"/>
          </a:solidFill>
        </p:spPr>
        <p:txBody>
          <a:bodyPr/>
          <a:lstStyle/>
          <a:p>
            <a:pPr marL="0" indent="0"/>
            <a:r>
              <a:rPr lang="cs-CZ" sz="1800" b="1" dirty="0"/>
              <a:t>hejtman ZK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600" b="1" dirty="0"/>
              <a:t>Od </a:t>
            </a:r>
            <a:r>
              <a:rPr lang="cs-CZ" sz="1600" b="1" dirty="0">
                <a:solidFill>
                  <a:schemeClr val="accent2"/>
                </a:solidFill>
              </a:rPr>
              <a:t>pátku 26. listopadu 2021 00.00 hodin </a:t>
            </a:r>
            <a:r>
              <a:rPr lang="cs-CZ" sz="1600" b="1" dirty="0"/>
              <a:t>platí na území České republiky </a:t>
            </a:r>
            <a:r>
              <a:rPr lang="cs-CZ" sz="1600" b="1" dirty="0">
                <a:solidFill>
                  <a:srgbClr val="FF0000"/>
                </a:solidFill>
              </a:rPr>
              <a:t>nouzový stav</a:t>
            </a:r>
            <a:r>
              <a:rPr lang="cs-CZ" sz="1600" b="1" dirty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600" b="1" dirty="0"/>
              <a:t>Vláda ho vyhlásila na 30 dnů, tedy do 25. prosince 23.59 hodin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600" b="1" i="1" dirty="0"/>
              <a:t>Kromě </a:t>
            </a:r>
            <a:r>
              <a:rPr lang="cs-CZ" sz="1600" b="1" i="1" dirty="0">
                <a:solidFill>
                  <a:srgbClr val="FF0000"/>
                </a:solidFill>
              </a:rPr>
              <a:t>krizových opatření </a:t>
            </a:r>
            <a:r>
              <a:rPr lang="cs-CZ" sz="1600" b="1" i="1" dirty="0"/>
              <a:t>vyhlášených na základě ústavního zákona č. 110/1998 Sb., o bezpečnosti České republiky, </a:t>
            </a:r>
            <a:r>
              <a:rPr lang="cs-CZ" sz="1600" b="1" i="1" dirty="0">
                <a:solidFill>
                  <a:schemeClr val="accent2"/>
                </a:solidFill>
              </a:rPr>
              <a:t>nadále platí i mimořádná a ochranná opatření Ministerstva zdravotnictví </a:t>
            </a:r>
            <a:r>
              <a:rPr lang="cs-CZ" sz="1600" b="1" i="1" dirty="0"/>
              <a:t>vyhlášená na základě zákona č. 258/2000 Sb., o ochraně veřejného zdraví, ve znění pozdějších předpisů, a zákona č. 94/2021 Sb., o mimořádných opatřeních při epidemii onemocnění covid-19 (Pandemický zákon).</a:t>
            </a:r>
          </a:p>
          <a:p>
            <a:pPr marL="0" indent="0"/>
            <a:r>
              <a:rPr lang="cs-CZ" sz="1800" b="1" dirty="0"/>
              <a:t>Z činnosti SPS KŠ ZK: </a:t>
            </a:r>
          </a:p>
          <a:p>
            <a:pPr marL="0" indent="0"/>
            <a:r>
              <a:rPr lang="cs-CZ" b="1" dirty="0">
                <a:solidFill>
                  <a:srgbClr val="FF0000"/>
                </a:solidFill>
              </a:rPr>
              <a:t>SPS KŠ </a:t>
            </a:r>
          </a:p>
          <a:p>
            <a:pPr marL="0" indent="0"/>
            <a:r>
              <a:rPr lang="cs-CZ" dirty="0"/>
              <a:t>Videokonferenční jednání hejtmanů s premiérem a ministrem zdravotnictví k EPI situaci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23.11.2021 – KEK KHS ZK - na základě situace v nemocnicích hejtman ZK požádal ředitelku KHS ZK o řešení EPI situace na území ZK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24. 11. 2021 – Rada ZK projednala EPI situaci, kapacitní možnosti v nemocnicích ZK a vydala Usnesení o žádosti na KHS ZK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b="1" dirty="0"/>
              <a:t>25. 11. 2021 </a:t>
            </a:r>
            <a:r>
              <a:rPr lang="cs-CZ" dirty="0"/>
              <a:t>– zasedání KŠ ZK </a:t>
            </a:r>
            <a:r>
              <a:rPr lang="cs-CZ" b="1" dirty="0"/>
              <a:t>-  předseda KŠZK vyzval </a:t>
            </a:r>
            <a:r>
              <a:rPr lang="cs-CZ" i="1" dirty="0"/>
              <a:t>podle § 2 odst. 2, písmene e) zákona č. 94/2021 Sb</a:t>
            </a:r>
            <a:r>
              <a:rPr lang="cs-CZ" dirty="0"/>
              <a:t>.-  ředitelku KHS ZK </a:t>
            </a:r>
            <a:r>
              <a:rPr lang="cs-CZ" b="1" dirty="0"/>
              <a:t>k vydání adekvátních opatření</a:t>
            </a:r>
            <a:r>
              <a:rPr lang="cs-CZ" dirty="0"/>
              <a:t> KHS ZK k omezení sociálních kontaktů, tzn. </a:t>
            </a:r>
            <a:r>
              <a:rPr lang="cs-CZ" b="1" dirty="0"/>
              <a:t>omezení hromadných akcí nad 100 osob a minimálně na 14 dnů za účelem zamezení šíření epidemie SARS-CoV-2</a:t>
            </a:r>
            <a:r>
              <a:rPr lang="cs-CZ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26.11.2021 – na podporu nemocnic objednány z PZ SSHS – 20 </a:t>
            </a:r>
            <a:r>
              <a:rPr lang="cs-CZ" dirty="0" err="1"/>
              <a:t>spr</a:t>
            </a:r>
            <a:r>
              <a:rPr lang="cs-CZ" dirty="0"/>
              <a:t>. HFN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27. 11. 2021 –po 5 </a:t>
            </a:r>
            <a:r>
              <a:rPr lang="cs-CZ" dirty="0" err="1"/>
              <a:t>spr</a:t>
            </a:r>
            <a:r>
              <a:rPr lang="cs-CZ" dirty="0"/>
              <a:t>. HFNO – do nemocnic- KNTB, KM, VS, VALMEZ</a:t>
            </a:r>
          </a:p>
        </p:txBody>
      </p:sp>
    </p:spTree>
    <p:extLst>
      <p:ext uri="{BB962C8B-B14F-4D97-AF65-F5344CB8AC3E}">
        <p14:creationId xmlns:p14="http://schemas.microsoft.com/office/powerpoint/2010/main" val="156230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7092" y="1334530"/>
            <a:ext cx="11460493" cy="535459"/>
          </a:xfrm>
        </p:spPr>
        <p:txBody>
          <a:bodyPr/>
          <a:lstStyle/>
          <a:p>
            <a:r>
              <a:rPr lang="cs-CZ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Jednání vlády</a:t>
            </a:r>
            <a:br>
              <a:rPr lang="cs-CZ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07092" y="1762898"/>
            <a:ext cx="11969578" cy="4917988"/>
          </a:xfrm>
          <a:solidFill>
            <a:srgbClr val="FFFFCC"/>
          </a:solidFill>
        </p:spPr>
        <p:txBody>
          <a:bodyPr/>
          <a:lstStyle/>
          <a:p>
            <a:r>
              <a:rPr lang="cs-CZ" dirty="0"/>
              <a:t> </a:t>
            </a:r>
            <a:r>
              <a:rPr lang="cs-CZ" b="1" dirty="0"/>
              <a:t>Nouzový stav a krizová opatření </a:t>
            </a:r>
            <a:endParaRPr lang="cs-CZ" dirty="0"/>
          </a:p>
          <a:p>
            <a:r>
              <a:rPr lang="cs-CZ" dirty="0"/>
              <a:t>• Vyhlášení nouzového stavu </a:t>
            </a:r>
          </a:p>
          <a:p>
            <a:r>
              <a:rPr lang="cs-CZ" dirty="0"/>
              <a:t>• Krizové opatření v oblasti maloobchodu a služeb od 26. listopadu 2021 od 18.00 hodin </a:t>
            </a:r>
          </a:p>
          <a:p>
            <a:r>
              <a:rPr lang="cs-CZ" dirty="0"/>
              <a:t>• Krizové opatření o nařízení pracovní povinnosti </a:t>
            </a:r>
          </a:p>
          <a:p>
            <a:r>
              <a:rPr lang="cs-CZ" sz="16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cs-CZ" b="1" dirty="0">
                <a:solidFill>
                  <a:srgbClr val="000000"/>
                </a:solidFill>
                <a:latin typeface="Arial" panose="020B0604020202020204" pitchFamily="34" charset="0"/>
              </a:rPr>
              <a:t>Mimořádná a ochranná opatření Ministerstva zdravotnictví </a:t>
            </a:r>
            <a:endParaRPr lang="cs-CZ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pl-PL" sz="1100" dirty="0">
                <a:solidFill>
                  <a:srgbClr val="000000"/>
                </a:solidFill>
                <a:latin typeface="Arial" panose="020B0604020202020204" pitchFamily="34" charset="0"/>
              </a:rPr>
              <a:t>• </a:t>
            </a:r>
            <a:r>
              <a:rPr lang="pl-PL" dirty="0">
                <a:solidFill>
                  <a:srgbClr val="000000"/>
                </a:solidFill>
                <a:latin typeface="Arial" panose="020B0604020202020204" pitchFamily="34" charset="0"/>
              </a:rPr>
              <a:t>Omezení maloobchodu a služeb do 26. listopadu 2021 do 17.59 hodin </a:t>
            </a:r>
          </a:p>
          <a:p>
            <a:r>
              <a:rPr lang="cs-CZ" sz="1100" dirty="0">
                <a:solidFill>
                  <a:srgbClr val="000000"/>
                </a:solidFill>
                <a:latin typeface="Arial" panose="020B0604020202020204" pitchFamily="34" charset="0"/>
              </a:rPr>
              <a:t>• 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</a:rPr>
              <a:t>Nošení ochranných prostředků dýchacích cest </a:t>
            </a:r>
          </a:p>
          <a:p>
            <a:r>
              <a:rPr lang="cs-CZ" sz="1100" dirty="0">
                <a:solidFill>
                  <a:srgbClr val="000000"/>
                </a:solidFill>
                <a:latin typeface="Arial" panose="020B0604020202020204" pitchFamily="34" charset="0"/>
              </a:rPr>
              <a:t>• 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</a:rPr>
              <a:t>Opatření při vstupu do České republiky- omikron</a:t>
            </a:r>
          </a:p>
          <a:p>
            <a:r>
              <a:rPr lang="cs-CZ" sz="1100" dirty="0">
                <a:solidFill>
                  <a:srgbClr val="000000"/>
                </a:solidFill>
                <a:latin typeface="Arial" panose="020B0604020202020204" pitchFamily="34" charset="0"/>
              </a:rPr>
              <a:t>• 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</a:rPr>
              <a:t>Opatření související s očkováním </a:t>
            </a:r>
          </a:p>
          <a:p>
            <a:r>
              <a:rPr lang="cs-CZ" sz="1100" dirty="0">
                <a:solidFill>
                  <a:srgbClr val="000000"/>
                </a:solidFill>
                <a:latin typeface="Arial" panose="020B0604020202020204" pitchFamily="34" charset="0"/>
              </a:rPr>
              <a:t>• 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</a:rPr>
              <a:t>Opatření ve školství </a:t>
            </a:r>
          </a:p>
          <a:p>
            <a:r>
              <a:rPr lang="cs-CZ" sz="1100" dirty="0">
                <a:solidFill>
                  <a:srgbClr val="000000"/>
                </a:solidFill>
                <a:latin typeface="Arial" panose="020B0604020202020204" pitchFamily="34" charset="0"/>
              </a:rPr>
              <a:t>• 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</a:rPr>
              <a:t>Opatření v oblasti sociálních služeb a péče </a:t>
            </a:r>
          </a:p>
          <a:p>
            <a:r>
              <a:rPr lang="cs-CZ" sz="1100" dirty="0">
                <a:solidFill>
                  <a:srgbClr val="000000"/>
                </a:solidFill>
                <a:latin typeface="Arial" panose="020B0604020202020204" pitchFamily="34" charset="0"/>
              </a:rPr>
              <a:t>• 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</a:rPr>
              <a:t>Testování </a:t>
            </a:r>
          </a:p>
          <a:p>
            <a:r>
              <a:rPr lang="cs-CZ" sz="1100" dirty="0">
                <a:solidFill>
                  <a:srgbClr val="000000"/>
                </a:solidFill>
                <a:latin typeface="Arial" panose="020B0604020202020204" pitchFamily="34" charset="0"/>
              </a:rPr>
              <a:t>• 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</a:rPr>
              <a:t>Opatření v oblasti zdravotnictví </a:t>
            </a:r>
          </a:p>
          <a:p>
            <a:r>
              <a:rPr lang="cs-CZ" sz="1100" dirty="0">
                <a:solidFill>
                  <a:srgbClr val="000000"/>
                </a:solidFill>
                <a:latin typeface="Arial" panose="020B0604020202020204" pitchFamily="34" charset="0"/>
              </a:rPr>
              <a:t>• 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</a:rPr>
              <a:t>Doporučení pro úřady </a:t>
            </a:r>
          </a:p>
          <a:p>
            <a:r>
              <a:rPr lang="cs-CZ" dirty="0"/>
              <a:t>Pro více informací sledujte </a:t>
            </a:r>
            <a:r>
              <a:rPr lang="cs-CZ" u="sng" dirty="0">
                <a:solidFill>
                  <a:schemeClr val="accent2"/>
                </a:solidFill>
              </a:rPr>
              <a:t>webové stránky Ministerstva zdravotnictví </a:t>
            </a:r>
            <a:r>
              <a:rPr lang="cs-CZ" dirty="0"/>
              <a:t>a webové stránky příslušné </a:t>
            </a:r>
            <a:r>
              <a:rPr lang="cs-CZ" u="sng" dirty="0">
                <a:solidFill>
                  <a:schemeClr val="accent2"/>
                </a:solidFill>
              </a:rPr>
              <a:t>krajské hygienické stanice</a:t>
            </a:r>
            <a:r>
              <a:rPr lang="cs-CZ" dirty="0"/>
              <a:t>.</a:t>
            </a:r>
          </a:p>
          <a:p>
            <a:r>
              <a:rPr lang="cs-CZ" dirty="0"/>
              <a:t>Přehledné shrnutí aktuálních omezení naleznete na </a:t>
            </a:r>
            <a:r>
              <a:rPr lang="cs-CZ" dirty="0" err="1"/>
              <a:t>Covid</a:t>
            </a:r>
            <a:r>
              <a:rPr lang="cs-CZ" dirty="0"/>
              <a:t> portálu. </a:t>
            </a:r>
            <a:r>
              <a:rPr lang="cs-CZ" dirty="0">
                <a:hlinkClick r:id="rId2"/>
              </a:rPr>
              <a:t>Informace o </a:t>
            </a:r>
            <a:r>
              <a:rPr lang="cs-CZ" dirty="0" err="1">
                <a:hlinkClick r:id="rId2"/>
              </a:rPr>
              <a:t>koronaviru</a:t>
            </a:r>
            <a:r>
              <a:rPr lang="cs-CZ" dirty="0">
                <a:hlinkClick r:id="rId2"/>
              </a:rPr>
              <a:t> COVID-19 | Zlínský kraj (kr-zlinsky.cz)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589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079776" y="116632"/>
            <a:ext cx="7920879" cy="792088"/>
          </a:xfrm>
          <a:solidFill>
            <a:srgbClr val="F3FBA3"/>
          </a:solidFill>
        </p:spPr>
        <p:txBody>
          <a:bodyPr/>
          <a:lstStyle/>
          <a:p>
            <a:r>
              <a:rPr lang="cs-CZ" sz="2000" dirty="0">
                <a:solidFill>
                  <a:schemeClr val="accent2"/>
                </a:solidFill>
              </a:rPr>
              <a:t>Informace o nasazení AČR na území ZK k 24. 11. 2021</a:t>
            </a:r>
          </a:p>
        </p:txBody>
      </p:sp>
      <p:sp>
        <p:nvSpPr>
          <p:cNvPr id="6" name="Nadpis 1"/>
          <p:cNvSpPr txBox="1">
            <a:spLocks/>
          </p:cNvSpPr>
          <p:nvPr/>
        </p:nvSpPr>
        <p:spPr bwMode="auto">
          <a:xfrm>
            <a:off x="119337" y="1268760"/>
            <a:ext cx="11881318" cy="360238"/>
          </a:xfrm>
          <a:prstGeom prst="rect">
            <a:avLst/>
          </a:prstGeom>
          <a:solidFill>
            <a:srgbClr val="F3FBA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OSÍLENÍ ZDRAVOTNICKÝCH ZAŘÍZENÍ A NEMOCNIC - "OPERACE ASISTENCE II"</a:t>
            </a:r>
          </a:p>
        </p:txBody>
      </p:sp>
      <p:sp>
        <p:nvSpPr>
          <p:cNvPr id="7" name="Nadpis 1"/>
          <p:cNvSpPr txBox="1">
            <a:spLocks/>
          </p:cNvSpPr>
          <p:nvPr/>
        </p:nvSpPr>
        <p:spPr bwMode="auto">
          <a:xfrm>
            <a:off x="115769" y="5245274"/>
            <a:ext cx="11884885" cy="360040"/>
          </a:xfrm>
          <a:prstGeom prst="rect">
            <a:avLst/>
          </a:prstGeom>
          <a:solidFill>
            <a:srgbClr val="F3FBA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6600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ODPORA ANTIGENNÍCH ODBĚROVÝCH CENTER "OPERACE – TESTOVÁNÍ II"</a:t>
            </a:r>
          </a:p>
        </p:txBody>
      </p:sp>
      <p:graphicFrame>
        <p:nvGraphicFramePr>
          <p:cNvPr id="10" name="Tabulka 9"/>
          <p:cNvGraphicFramePr>
            <a:graphicFrameLocks noGrp="1"/>
          </p:cNvGraphicFramePr>
          <p:nvPr/>
        </p:nvGraphicFramePr>
        <p:xfrm>
          <a:off x="407368" y="1661834"/>
          <a:ext cx="8424935" cy="34823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380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0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3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40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232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u="none" strike="noStrike" dirty="0">
                          <a:effectLst/>
                          <a:latin typeface="Calibri" panose="020F0502020204030204" pitchFamily="34" charset="0"/>
                        </a:rPr>
                        <a:t>Zdravotnické zařízení</a:t>
                      </a:r>
                      <a:endParaRPr lang="cs-CZ" sz="16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1" u="none" strike="noStrike" kern="1200" dirty="0">
                          <a:effectLst/>
                          <a:latin typeface="Calibri" panose="020F0502020204030204" pitchFamily="34" charset="0"/>
                        </a:rPr>
                        <a:t>Počet vojáků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1" u="none" strike="noStrike" kern="1200" dirty="0">
                          <a:effectLst/>
                          <a:latin typeface="Calibri" panose="020F0502020204030204" pitchFamily="34" charset="0"/>
                        </a:rPr>
                        <a:t>Termín</a:t>
                      </a:r>
                      <a:endParaRPr lang="cs-CZ" sz="160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643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u="none" strike="noStrike" dirty="0">
                          <a:effectLst/>
                          <a:latin typeface="Calibri" panose="020F0502020204030204" pitchFamily="34" charset="0"/>
                        </a:rPr>
                        <a:t>KNTB Zlín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latin typeface="Calibri" panose="020F0502020204030204" pitchFamily="34" charset="0"/>
                        </a:rPr>
                        <a:t>4</a:t>
                      </a:r>
                      <a:endParaRPr lang="cs-CZ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</a:t>
                      </a:r>
                      <a:r>
                        <a:rPr lang="cs-CZ" sz="1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2. 2021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43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9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. 12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643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Vsetín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>
                          <a:latin typeface="Calibri" panose="020F0502020204030204" pitchFamily="34" charset="0"/>
                        </a:rPr>
                        <a:t>15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643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6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9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. 12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643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</a:t>
                      </a:r>
                      <a:r>
                        <a:rPr lang="cs-CZ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lMez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>
                          <a:latin typeface="Calibri" panose="020F0502020204030204" pitchFamily="34" charset="0"/>
                        </a:rPr>
                        <a:t>15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643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0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3. 12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643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u="none" strike="noStrike" dirty="0">
                          <a:effectLst/>
                          <a:latin typeface="Calibri" panose="020F0502020204030204" pitchFamily="34" charset="0"/>
                        </a:rPr>
                        <a:t>Nemocnice Uh.</a:t>
                      </a:r>
                      <a:r>
                        <a:rPr lang="cs-CZ" sz="1600" b="1" u="none" strike="noStrike" baseline="0" dirty="0">
                          <a:effectLst/>
                          <a:latin typeface="Calibri" panose="020F0502020204030204" pitchFamily="34" charset="0"/>
                        </a:rPr>
                        <a:t> Hradiště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>
                          <a:latin typeface="Calibri" panose="020F0502020204030204" pitchFamily="34" charset="0"/>
                        </a:rPr>
                        <a:t>22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 12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253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dirty="0"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cs-CZ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643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Kroměříž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3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. 12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253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200" dirty="0"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1" name="Tabulka 10"/>
          <p:cNvGraphicFramePr>
            <a:graphicFrameLocks noGrp="1"/>
          </p:cNvGraphicFramePr>
          <p:nvPr/>
        </p:nvGraphicFramePr>
        <p:xfrm>
          <a:off x="407368" y="5877273"/>
          <a:ext cx="8424935" cy="82448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066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89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93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482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1" kern="1200" dirty="0">
                          <a:latin typeface="Calibri" panose="020F0502020204030204" pitchFamily="34" charset="0"/>
                        </a:rPr>
                        <a:t>Zdravotnické zařízení</a:t>
                      </a:r>
                      <a:endParaRPr lang="cs-CZ" sz="16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1" kern="1200" dirty="0">
                          <a:latin typeface="Calibri" panose="020F0502020204030204" pitchFamily="34" charset="0"/>
                        </a:rPr>
                        <a:t>Počet vojáků</a:t>
                      </a:r>
                      <a:endParaRPr lang="cs-CZ" sz="16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cs-CZ" sz="1600" b="1" kern="1200" dirty="0">
                          <a:latin typeface="Calibri" panose="020F0502020204030204" pitchFamily="34" charset="0"/>
                        </a:rPr>
                        <a:t>Termín</a:t>
                      </a:r>
                      <a:endParaRPr lang="cs-CZ" sz="16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82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emocnice</a:t>
                      </a:r>
                      <a:r>
                        <a:rPr lang="cs-CZ" sz="160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Uh. Hradiště</a:t>
                      </a:r>
                      <a:endParaRPr lang="cs-CZ" sz="16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kern="1200" dirty="0">
                          <a:latin typeface="Calibri" panose="020F0502020204030204" pitchFamily="34" charset="0"/>
                        </a:rPr>
                        <a:t>1 </a:t>
                      </a:r>
                      <a:r>
                        <a:rPr lang="cs-CZ" sz="1600" kern="1200" dirty="0" err="1">
                          <a:latin typeface="Calibri" panose="020F0502020204030204" pitchFamily="34" charset="0"/>
                        </a:rPr>
                        <a:t>OdT</a:t>
                      </a:r>
                      <a:r>
                        <a:rPr lang="cs-CZ" sz="1600" kern="1200" dirty="0">
                          <a:latin typeface="Calibri" panose="020F0502020204030204" pitchFamily="34" charset="0"/>
                        </a:rPr>
                        <a:t> (2 vojáci) </a:t>
                      </a:r>
                      <a:endParaRPr lang="cs-CZ" sz="16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23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82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setínská nemocnice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kern="1200" dirty="0">
                          <a:latin typeface="Calibri" panose="020F0502020204030204" pitchFamily="34" charset="0"/>
                        </a:rPr>
                        <a:t>1 </a:t>
                      </a:r>
                      <a:r>
                        <a:rPr lang="cs-CZ" sz="1600" kern="1200" dirty="0" err="1">
                          <a:latin typeface="Calibri" panose="020F0502020204030204" pitchFamily="34" charset="0"/>
                        </a:rPr>
                        <a:t>OdT</a:t>
                      </a:r>
                      <a:r>
                        <a:rPr lang="cs-CZ" sz="1600" kern="1200" dirty="0">
                          <a:latin typeface="Calibri" panose="020F0502020204030204" pitchFamily="34" charset="0"/>
                        </a:rPr>
                        <a:t> (2 vojáci) </a:t>
                      </a:r>
                      <a:endParaRPr lang="cs-CZ" sz="16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 11. 2021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4163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15330" y="1556951"/>
            <a:ext cx="11829535" cy="3871784"/>
          </a:xfrm>
          <a:solidFill>
            <a:srgbClr val="FFFFCC"/>
          </a:solidFill>
        </p:spPr>
        <p:txBody>
          <a:bodyPr/>
          <a:lstStyle/>
          <a:p>
            <a:pPr marL="457200" indent="-457200" algn="just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ktivním faktem, že </a:t>
            </a:r>
            <a:r>
              <a:rPr lang="cs-CZ" sz="28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pidemie neustále narůstá</a:t>
            </a:r>
            <a:r>
              <a:rPr lang="cs-CZ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trend rostoucí virové zátěže v populaci je významný (při hodnotě R 1,2 – 1,3). </a:t>
            </a:r>
          </a:p>
          <a:p>
            <a:pPr marL="457200" indent="-457200" algn="just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čet </a:t>
            </a:r>
            <a:r>
              <a:rPr lang="cs-CZ" sz="28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spitalizovaných v těžkém stavu roste</a:t>
            </a:r>
            <a:r>
              <a:rPr lang="cs-CZ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457200" indent="-457200" algn="just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lativní </a:t>
            </a:r>
            <a:r>
              <a:rPr lang="cs-CZ" sz="28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zitivita indikovaných testů zůstává stále velmi rizikově vysoká</a:t>
            </a:r>
            <a:r>
              <a:rPr lang="cs-CZ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 u testů z klinické a diagnostické indikace dosahuje 36 % (avšak v nejvíce zatížených regionech jako je OLK, ZLK, JHC, přesahuje 45 %).</a:t>
            </a:r>
          </a:p>
          <a:p>
            <a:pPr marL="457200" indent="-457200" algn="just">
              <a:lnSpc>
                <a:spcPct val="107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cs-CZ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ákaza se šíří ve všech věkových kategoriích populace, včetně potenciálně zranitelných seniorů.</a:t>
            </a:r>
          </a:p>
        </p:txBody>
      </p:sp>
    </p:spTree>
    <p:extLst>
      <p:ext uri="{BB962C8B-B14F-4D97-AF65-F5344CB8AC3E}">
        <p14:creationId xmlns:p14="http://schemas.microsoft.com/office/powerpoint/2010/main" val="1313088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603424" y="1202417"/>
            <a:ext cx="2771775" cy="2876550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02417"/>
            <a:ext cx="4603424" cy="5468465"/>
          </a:xfrm>
          <a:prstGeom prst="rect">
            <a:avLst/>
          </a:prstGeom>
        </p:spPr>
      </p:pic>
      <p:sp>
        <p:nvSpPr>
          <p:cNvPr id="7" name="Obdélník 6"/>
          <p:cNvSpPr/>
          <p:nvPr/>
        </p:nvSpPr>
        <p:spPr>
          <a:xfrm>
            <a:off x="7399914" y="3443417"/>
            <a:ext cx="453985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hlinkClick r:id="rId4"/>
              </a:rPr>
              <a:t>Informace o </a:t>
            </a:r>
            <a:r>
              <a:rPr lang="cs-CZ" sz="1000" dirty="0" err="1">
                <a:hlinkClick r:id="rId4"/>
              </a:rPr>
              <a:t>koronaviru</a:t>
            </a:r>
            <a:r>
              <a:rPr lang="cs-CZ" sz="1000" dirty="0">
                <a:hlinkClick r:id="rId4"/>
              </a:rPr>
              <a:t> COVID-19 | Zlínský kraj (kr-zlinsky.cz)</a:t>
            </a:r>
            <a:endParaRPr lang="cs-CZ" sz="1000" dirty="0"/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33837" y="3756454"/>
            <a:ext cx="5045680" cy="2836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4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/>
          <p:cNvSpPr txBox="1"/>
          <p:nvPr/>
        </p:nvSpPr>
        <p:spPr>
          <a:xfrm>
            <a:off x="323195" y="2263119"/>
            <a:ext cx="11525819" cy="677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1"/>
                </a:solidFill>
              </a:rPr>
              <a:t>Uherskohradišťská nemocnice</a:t>
            </a:r>
          </a:p>
          <a:p>
            <a:r>
              <a:rPr lang="cs-CZ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očet hospitalizovaných: </a:t>
            </a: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126 </a:t>
            </a:r>
            <a:r>
              <a:rPr lang="cs-CZ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                     Z toho JIP:  13                   Z toho UPV:  0                Standard C+ 111 </a:t>
            </a:r>
            <a:endParaRPr lang="cs-CZ" sz="20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328525" y="1406340"/>
            <a:ext cx="11525819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lvl="0" algn="just"/>
            <a:r>
              <a:rPr lang="cs-CZ" sz="20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Krajská nemocnice Zlín</a:t>
            </a:r>
          </a:p>
          <a:p>
            <a:pPr lvl="0" algn="just"/>
            <a:r>
              <a:rPr lang="cs-CZ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očet hospitalizovaných: </a:t>
            </a: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136</a:t>
            </a:r>
            <a:r>
              <a:rPr lang="cs-CZ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                      Z toho JIP: 15                         Z toho UPV:                Standard C+ 121</a:t>
            </a:r>
          </a:p>
        </p:txBody>
      </p:sp>
      <p:sp>
        <p:nvSpPr>
          <p:cNvPr id="7" name="TextovéPole 6"/>
          <p:cNvSpPr txBox="1"/>
          <p:nvPr/>
        </p:nvSpPr>
        <p:spPr>
          <a:xfrm>
            <a:off x="314909" y="3058233"/>
            <a:ext cx="11525819" cy="677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1"/>
                </a:solidFill>
              </a:rPr>
              <a:t>Kroměřížská nemocnice</a:t>
            </a:r>
          </a:p>
          <a:p>
            <a:r>
              <a:rPr lang="cs-CZ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očet hospitalizovaných:  </a:t>
            </a: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58</a:t>
            </a:r>
            <a:r>
              <a:rPr lang="cs-CZ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                          Z toho JIP:  17                   Z toho UPV: 8              Standard C+ 41</a:t>
            </a:r>
            <a:endParaRPr lang="cs-CZ" sz="2000" b="1" dirty="0">
              <a:solidFill>
                <a:schemeClr val="accent1"/>
              </a:solidFill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331480" y="3947552"/>
            <a:ext cx="11509248" cy="677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1"/>
                </a:solidFill>
              </a:rPr>
              <a:t>Vsetínská nemocnice</a:t>
            </a:r>
          </a:p>
          <a:p>
            <a:pPr lvl="0" algn="just"/>
            <a:r>
              <a:rPr lang="cs-CZ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očet hospitalizovaných:  </a:t>
            </a: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89 </a:t>
            </a:r>
            <a:r>
              <a:rPr lang="cs-CZ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                      Z toho JIP:  10                    Z toho UPV: 3                 Standard C+ 54             </a:t>
            </a:r>
            <a:endParaRPr lang="cs-CZ" b="1" dirty="0">
              <a:solidFill>
                <a:schemeClr val="accent1"/>
              </a:solidFill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306625" y="455575"/>
            <a:ext cx="11482018" cy="461665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cs-CZ" sz="2400" b="1" dirty="0"/>
              <a:t>Nemocnice Zlínského kraje _ráno 29. listopad 2021 - </a:t>
            </a:r>
            <a:r>
              <a:rPr lang="cs-CZ" b="1" dirty="0"/>
              <a:t>doc. </a:t>
            </a:r>
            <a:r>
              <a:rPr lang="cs-CZ" b="1" dirty="0" err="1"/>
              <a:t>Gabrhelík</a:t>
            </a:r>
            <a:r>
              <a:rPr lang="cs-CZ" b="1" dirty="0"/>
              <a:t>, MUDr. Olga Sehnalová</a:t>
            </a:r>
          </a:p>
        </p:txBody>
      </p:sp>
      <p:sp>
        <p:nvSpPr>
          <p:cNvPr id="12" name="TextovéPole 11"/>
          <p:cNvSpPr txBox="1"/>
          <p:nvPr/>
        </p:nvSpPr>
        <p:spPr>
          <a:xfrm>
            <a:off x="339766" y="5081220"/>
            <a:ext cx="11509248" cy="677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1"/>
                </a:solidFill>
              </a:rPr>
              <a:t>Nemocnice VALMEZ</a:t>
            </a:r>
          </a:p>
          <a:p>
            <a:pPr lvl="0" algn="just"/>
            <a:r>
              <a:rPr lang="cs-CZ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očet hospitalizovaných:  </a:t>
            </a:r>
            <a:r>
              <a:rPr lang="cs-CZ" sz="20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54 </a:t>
            </a:r>
            <a:r>
              <a:rPr lang="cs-CZ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                      Z toho JIP:  8                       Z toho UPV: 4                 Standard C+ 46             </a:t>
            </a:r>
            <a:endParaRPr lang="cs-CZ" b="1" dirty="0">
              <a:solidFill>
                <a:schemeClr val="accent1"/>
              </a:solidFill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339766" y="6013622"/>
            <a:ext cx="6242266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b="1" dirty="0"/>
              <a:t>CELKEM</a:t>
            </a:r>
            <a:r>
              <a:rPr lang="cs-CZ" dirty="0"/>
              <a:t>: </a:t>
            </a:r>
            <a:r>
              <a:rPr lang="cs-CZ" b="1" dirty="0">
                <a:solidFill>
                  <a:srgbClr val="FF0000"/>
                </a:solidFill>
              </a:rPr>
              <a:t>463                                                                               63</a:t>
            </a:r>
          </a:p>
        </p:txBody>
      </p:sp>
    </p:spTree>
    <p:extLst>
      <p:ext uri="{BB962C8B-B14F-4D97-AF65-F5344CB8AC3E}">
        <p14:creationId xmlns:p14="http://schemas.microsoft.com/office/powerpoint/2010/main" val="28148556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línský kraj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23D2C687-80DB-4EF0-A8E6-6F402388CF47}"/>
              </a:ext>
            </a:extLst>
          </p:cNvPr>
          <p:cNvGraphicFramePr/>
          <p:nvPr/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AE7C9743-5CC7-478C-8196-75F2E1490BEC}"/>
              </a:ext>
            </a:extLst>
          </p:cNvPr>
          <p:cNvGraphicFramePr>
            <a:graphicFrameLocks noGrp="1"/>
          </p:cNvGraphicFramePr>
          <p:nvPr/>
        </p:nvGraphicFramePr>
        <p:xfrm>
          <a:off x="1275570" y="1059502"/>
          <a:ext cx="5760000" cy="1762665"/>
        </p:xfrm>
        <a:graphic>
          <a:graphicData uri="http://schemas.openxmlformats.org/drawingml/2006/table">
            <a:tbl>
              <a:tblPr firstRow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706735823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8899323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2321874019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31877599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362576629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994116185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1242697102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1618786126"/>
                    </a:ext>
                  </a:extLst>
                </a:gridCol>
              </a:tblGrid>
              <a:tr h="8090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ěsíc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elkem nově na JIP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267966"/>
                  </a:ext>
                </a:extLst>
              </a:tr>
              <a:tr h="809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pozitivní více jak 14 dní po ukončeném očkování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3450650"/>
                  </a:ext>
                </a:extLst>
              </a:tr>
              <a:tr h="229652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b"/>
                      <a:endParaRPr lang="cs-CZ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z toho 65 +</a:t>
                      </a:r>
                      <a:endParaRPr lang="cs-CZ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322576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Září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5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00,0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81543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Říjen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6,8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3,7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8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664075"/>
                  </a:ext>
                </a:extLst>
              </a:tr>
              <a:tr h="809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istopad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6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5,2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8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3,3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4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75,9 %</a:t>
                      </a:r>
                      <a:endParaRPr kumimoji="0" lang="cs-CZ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9084936"/>
                  </a:ext>
                </a:extLst>
              </a:tr>
              <a:tr h="252000"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u="none" strike="noStrike" dirty="0">
                          <a:solidFill>
                            <a:srgbClr val="D31145"/>
                          </a:solidFill>
                          <a:effectLst/>
                          <a:latin typeface="+mj-lt"/>
                        </a:rPr>
                        <a:t>Aktuální volná kapacita lůžek JIP: 37</a:t>
                      </a:r>
                      <a:endParaRPr lang="cs-CZ" sz="1200" b="1" i="0" u="none" strike="noStrike" dirty="0">
                        <a:solidFill>
                          <a:srgbClr val="D31145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7D31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935850"/>
                  </a:ext>
                </a:extLst>
              </a:tr>
            </a:tbl>
          </a:graphicData>
        </a:graphic>
      </p:graphicFrame>
      <p:sp>
        <p:nvSpPr>
          <p:cNvPr id="28" name="TextBox 9">
            <a:extLst>
              <a:ext uri="{FF2B5EF4-FFF2-40B4-BE49-F238E27FC236}">
                <a16:creationId xmlns:a16="http://schemas.microsoft.com/office/drawing/2014/main" id="{1DD803E5-B4E3-46C3-8A31-2D647B9DD27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7C99652A-4D79-4ECB-8530-BE2191CC8A95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FC32BD59-36A1-4332-B5C2-7D976F2B066B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EAEAEF84-9240-4163-8050-7D5A0B0E8E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34F66578-BE90-41BA-BD99-FFF85F46FF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443B36A4-0798-4F29-84AE-13A985C367F9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8F79AC02-4BE8-4FC2-A887-1DE46B8DA8E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C5ABDBA0-F035-4141-9016-F2D608423225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19B76B44-A9C7-442D-A042-75A6575FBA36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</p:spTree>
    <p:extLst>
      <p:ext uri="{BB962C8B-B14F-4D97-AF65-F5344CB8AC3E}">
        <p14:creationId xmlns:p14="http://schemas.microsoft.com/office/powerpoint/2010/main" val="2757399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Výchozí návrh">
  <a:themeElements>
    <a:clrScheme name="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ýchozí návr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174</TotalTime>
  <Words>1369</Words>
  <Application>Microsoft Office PowerPoint</Application>
  <PresentationFormat>Širokoúhlá obrazovka</PresentationFormat>
  <Paragraphs>180</Paragraphs>
  <Slides>15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15</vt:i4>
      </vt:variant>
    </vt:vector>
  </HeadingPairs>
  <TitlesOfParts>
    <vt:vector size="22" baseType="lpstr">
      <vt:lpstr>Arial</vt:lpstr>
      <vt:lpstr>Calibri</vt:lpstr>
      <vt:lpstr>Calibri Light</vt:lpstr>
      <vt:lpstr>Výchozí návrh</vt:lpstr>
      <vt:lpstr>4_Motiv Office</vt:lpstr>
      <vt:lpstr>3_Motiv Office</vt:lpstr>
      <vt:lpstr>8_Motiv Office</vt:lpstr>
      <vt:lpstr> 23. porada hejtmana  se starosty ORP ZK    Zlín 12:00 h  29. listopadu 2021 místnost 1120 Ing. Robert Pekaj tajemník KŠ ZK   </vt:lpstr>
      <vt:lpstr>Program jednání:</vt:lpstr>
      <vt:lpstr>Úvod:</vt:lpstr>
      <vt:lpstr>Jednání vlády </vt:lpstr>
      <vt:lpstr>Informace o nasazení AČR na území ZK k 24. 11. 2021</vt:lpstr>
      <vt:lpstr>Prezentace aplikace PowerPoint</vt:lpstr>
      <vt:lpstr>Prezentace aplikace PowerPoint</vt:lpstr>
      <vt:lpstr>Prezentace aplikace PowerPoint</vt:lpstr>
      <vt:lpstr>Predikce počtu pacientů na JIP – aktuální počet případů </vt:lpstr>
      <vt:lpstr>Predikce kumulativního počtu nových případů na JIP (od 1. 9. 2021)</vt:lpstr>
      <vt:lpstr> Zařízení – 53 Pozitivní klienti – 47 Pozitivní pracovníci – 79 Úmrtí – nesledováno Data hlášena poskytovateli pobytových služeb na základě dotazníku KÚZK</vt:lpstr>
      <vt:lpstr>Situace v pobytových SSL</vt:lpstr>
      <vt:lpstr>Situace v pobytových zařízeních SSL</vt:lpstr>
      <vt:lpstr>Informace o aktuální EPI situaci   MUDr. Eva Sedláčková, Ph.D. </vt:lpstr>
      <vt:lpstr>KHS ZK – kompetence a povinnosti starosty</vt:lpstr>
    </vt:vector>
  </TitlesOfParts>
  <Company>Krajský úřad Zlínského kraj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6. porada hejtmana  se starosty ORP ZK    Zlín, 11:00 h;  21. dubna 2021 místnost 1120 Ing. Robert Pekaj tajemník KŠ ZK</dc:title>
  <dc:creator>Pekaj Robert</dc:creator>
  <cp:lastModifiedBy>Andrea Hrabalova</cp:lastModifiedBy>
  <cp:revision>174</cp:revision>
  <cp:lastPrinted>2021-11-29T10:18:52Z</cp:lastPrinted>
  <dcterms:created xsi:type="dcterms:W3CDTF">2021-04-21T08:36:14Z</dcterms:created>
  <dcterms:modified xsi:type="dcterms:W3CDTF">2021-11-29T15:07:09Z</dcterms:modified>
</cp:coreProperties>
</file>